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13" r:id="rId5"/>
  </p:sldMasterIdLst>
  <p:notesMasterIdLst>
    <p:notesMasterId r:id="rId27"/>
  </p:notesMasterIdLst>
  <p:sldIdLst>
    <p:sldId id="256" r:id="rId6"/>
    <p:sldId id="296" r:id="rId7"/>
    <p:sldId id="297" r:id="rId8"/>
    <p:sldId id="304" r:id="rId9"/>
    <p:sldId id="299" r:id="rId10"/>
    <p:sldId id="290" r:id="rId11"/>
    <p:sldId id="298" r:id="rId12"/>
    <p:sldId id="305" r:id="rId13"/>
    <p:sldId id="310" r:id="rId14"/>
    <p:sldId id="307" r:id="rId15"/>
    <p:sldId id="301" r:id="rId16"/>
    <p:sldId id="308" r:id="rId17"/>
    <p:sldId id="309" r:id="rId18"/>
    <p:sldId id="313" r:id="rId19"/>
    <p:sldId id="311" r:id="rId20"/>
    <p:sldId id="314" r:id="rId21"/>
    <p:sldId id="312" r:id="rId22"/>
    <p:sldId id="315" r:id="rId23"/>
    <p:sldId id="316" r:id="rId24"/>
    <p:sldId id="303" r:id="rId25"/>
    <p:sldId id="267" r:id="rId2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55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4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D1FD0A-8E84-DCCA-4DFC-AD8F12771DC6}" name="Brice PETREMANN 755" initials="BP" userId="S::brice.petremann@cnaf.fr::8caf40f2-5985-4323-b85d-65d684f992b3" providerId="AD"/>
  <p188:author id="{1B6B6C43-D2F0-DF7E-DBF9-1A062DF3E8BA}" name="Alexandra SERGENT 493" initials="A4" userId="S::alexandra.sergent@caf49.caf.fr::f8a3a460-d4f7-43ca-965a-09688c9d41d9" providerId="AD"/>
  <p188:author id="{AF3BF3A5-94C2-96EE-AD20-8225323916F2}" name="Marion WAERNESSYCKLE 755" initials="M7" userId="S::marion.waernessyckle@cnaf.fr::db061e81-7e34-4e10-bf1e-05f70379f48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AEFF"/>
    <a:srgbClr val="1B3C86"/>
    <a:srgbClr val="003593"/>
    <a:srgbClr val="09204E"/>
    <a:srgbClr val="535E86"/>
    <a:srgbClr val="E94F1C"/>
    <a:srgbClr val="E3889A"/>
    <a:srgbClr val="FFEED9"/>
    <a:srgbClr val="FFE782"/>
    <a:srgbClr val="E7A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CC10A2-BF08-3958-8262-E1D7016A274F}" v="54" dt="2026-06-25T09:38:59.981"/>
    <p1510:client id="{380D7C8E-DCBA-F216-48D1-A76537417C11}" v="11" dt="2026-06-23T14:23:00.535"/>
    <p1510:client id="{9928B19D-7DEE-CCA6-CA02-B9F9DCADF97B}" v="942" dt="2026-06-24T14:55:24.874"/>
    <p1510:client id="{B10FDBF6-57F7-2EC6-BBB2-C95DAD8983EE}" v="21" dt="2026-06-25T09:44:47.1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pos="7355"/>
        <p:guide orient="horz" pos="3974"/>
        <p:guide orient="horz" pos="4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svg"/><Relationship Id="rId1" Type="http://schemas.openxmlformats.org/officeDocument/2006/relationships/image" Target="../media/image45.sv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svg"/><Relationship Id="rId1" Type="http://schemas.openxmlformats.org/officeDocument/2006/relationships/image" Target="../media/image4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F382C9-0F08-444C-A713-33B6D869E26D}" type="doc">
      <dgm:prSet loTypeId="urn:microsoft.com/office/officeart/2018/2/layout/IconVerticalSolidList" loCatId="icon" qsTypeId="urn:microsoft.com/office/officeart/2005/8/quickstyle/3d3" qsCatId="3D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2561A66-E4C4-4729-9C26-0856B2AD2450}">
      <dgm:prSet/>
      <dgm:spPr/>
      <dgm:t>
        <a:bodyPr/>
        <a:lstStyle/>
        <a:p>
          <a:pPr>
            <a:lnSpc>
              <a:spcPct val="100000"/>
            </a:lnSpc>
          </a:pPr>
          <a:r>
            <a:rPr lang="fr-FR" b="1" i="1" u="sng" dirty="0"/>
            <a:t>Prochaine </a:t>
          </a:r>
          <a:r>
            <a:rPr lang="fr-FR" b="1" i="1" u="sng" dirty="0" err="1"/>
            <a:t>visio</a:t>
          </a:r>
          <a:r>
            <a:rPr lang="fr-FR" b="1" i="1" u="sng" dirty="0"/>
            <a:t> : le </a:t>
          </a:r>
          <a:r>
            <a:rPr lang="fr-FR" b="1" i="1" u="sng" dirty="0">
              <a:latin typeface="Roboto Bold"/>
            </a:rPr>
            <a:t>7 août 2026</a:t>
          </a:r>
          <a:endParaRPr lang="en-US" dirty="0"/>
        </a:p>
      </dgm:t>
    </dgm:pt>
    <dgm:pt modelId="{E71AFF59-9D62-4DAA-9303-C70B71CA8B6D}" type="parTrans" cxnId="{ACE45273-3AB0-429C-AA83-2B131524F9F7}">
      <dgm:prSet/>
      <dgm:spPr/>
      <dgm:t>
        <a:bodyPr/>
        <a:lstStyle/>
        <a:p>
          <a:endParaRPr lang="en-US"/>
        </a:p>
      </dgm:t>
    </dgm:pt>
    <dgm:pt modelId="{96A8CCDA-C110-40BE-8903-65E885420151}" type="sibTrans" cxnId="{ACE45273-3AB0-429C-AA83-2B131524F9F7}">
      <dgm:prSet/>
      <dgm:spPr/>
      <dgm:t>
        <a:bodyPr/>
        <a:lstStyle/>
        <a:p>
          <a:endParaRPr lang="en-US"/>
        </a:p>
      </dgm:t>
    </dgm:pt>
    <dgm:pt modelId="{00EEBDF3-D55C-4F6D-943D-61CCD74CA4CB}">
      <dgm:prSet/>
      <dgm:spPr/>
      <dgm:t>
        <a:bodyPr/>
        <a:lstStyle/>
        <a:p>
          <a:pPr rtl="0">
            <a:lnSpc>
              <a:spcPct val="100000"/>
            </a:lnSpc>
          </a:pPr>
          <a:r>
            <a:rPr lang="fr-FR" b="1" i="1" dirty="0"/>
            <a:t>Calendrier des </a:t>
          </a:r>
          <a:r>
            <a:rPr lang="fr-FR" b="1" i="1" dirty="0" err="1"/>
            <a:t>visios</a:t>
          </a:r>
          <a:r>
            <a:rPr lang="fr-FR" b="1" i="1" dirty="0"/>
            <a:t> suivantes : </a:t>
          </a:r>
          <a:r>
            <a:rPr lang="fr-FR" b="1" i="1" dirty="0">
              <a:latin typeface="Roboto Bold"/>
            </a:rPr>
            <a:t>4</a:t>
          </a:r>
          <a:r>
            <a:rPr lang="fr-FR" b="1" i="1" dirty="0"/>
            <a:t> septembre, </a:t>
          </a:r>
          <a:br>
            <a:rPr lang="fr-FR" b="1" i="1" dirty="0">
              <a:latin typeface="Roboto Bold"/>
            </a:rPr>
          </a:br>
          <a:r>
            <a:rPr lang="fr-FR" b="1" i="1" dirty="0"/>
            <a:t>2 octobre, 6 novembre, 4 décembre </a:t>
          </a:r>
          <a:endParaRPr lang="en-US" b="0" i="0" dirty="0">
            <a:latin typeface="Roboto Bold"/>
          </a:endParaRPr>
        </a:p>
      </dgm:t>
    </dgm:pt>
    <dgm:pt modelId="{42F0C728-4F03-4B7D-A60B-688B2E16556D}" type="parTrans" cxnId="{F21C8532-9F65-4814-BE43-F6EAD35E1708}">
      <dgm:prSet/>
      <dgm:spPr/>
      <dgm:t>
        <a:bodyPr/>
        <a:lstStyle/>
        <a:p>
          <a:endParaRPr lang="en-US"/>
        </a:p>
      </dgm:t>
    </dgm:pt>
    <dgm:pt modelId="{B6D0F54D-FE64-4A1F-90A3-D983A46E28B2}" type="sibTrans" cxnId="{F21C8532-9F65-4814-BE43-F6EAD35E1708}">
      <dgm:prSet/>
      <dgm:spPr/>
      <dgm:t>
        <a:bodyPr/>
        <a:lstStyle/>
        <a:p>
          <a:endParaRPr lang="en-US"/>
        </a:p>
      </dgm:t>
    </dgm:pt>
    <dgm:pt modelId="{1D968D7D-B0BB-4195-BF9F-AA04840E13B9}" type="pres">
      <dgm:prSet presAssocID="{78F382C9-0F08-444C-A713-33B6D869E26D}" presName="root" presStyleCnt="0">
        <dgm:presLayoutVars>
          <dgm:dir/>
          <dgm:resizeHandles val="exact"/>
        </dgm:presLayoutVars>
      </dgm:prSet>
      <dgm:spPr/>
    </dgm:pt>
    <dgm:pt modelId="{71FE02F5-4BC1-4EDA-B9CF-E421B40C4BFD}" type="pres">
      <dgm:prSet presAssocID="{A2561A66-E4C4-4729-9C26-0856B2AD2450}" presName="compNode" presStyleCnt="0"/>
      <dgm:spPr/>
    </dgm:pt>
    <dgm:pt modelId="{306E7338-B45A-4996-B90E-E9FB63D826EA}" type="pres">
      <dgm:prSet presAssocID="{A2561A66-E4C4-4729-9C26-0856B2AD2450}" presName="bgRect" presStyleLbl="bgShp" presStyleIdx="0" presStyleCnt="2"/>
      <dgm:spPr/>
    </dgm:pt>
    <dgm:pt modelId="{CB87A2CD-22E0-40CF-B87B-F5D9A0168D02}" type="pres">
      <dgm:prSet presAssocID="{A2561A66-E4C4-4729-9C26-0856B2AD2450}" presName="iconRect" presStyleLbl="node1" presStyleIdx="0" presStyleCnt="2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éunion"/>
        </a:ext>
      </dgm:extLst>
    </dgm:pt>
    <dgm:pt modelId="{15AC6402-AEA7-44D5-9896-4405D8E2B94A}" type="pres">
      <dgm:prSet presAssocID="{A2561A66-E4C4-4729-9C26-0856B2AD2450}" presName="spaceRect" presStyleCnt="0"/>
      <dgm:spPr/>
    </dgm:pt>
    <dgm:pt modelId="{5B2B3574-5884-4B5D-A90E-0CF3E133D1CC}" type="pres">
      <dgm:prSet presAssocID="{A2561A66-E4C4-4729-9C26-0856B2AD2450}" presName="parTx" presStyleLbl="revTx" presStyleIdx="0" presStyleCnt="2">
        <dgm:presLayoutVars>
          <dgm:chMax val="0"/>
          <dgm:chPref val="0"/>
        </dgm:presLayoutVars>
      </dgm:prSet>
      <dgm:spPr/>
    </dgm:pt>
    <dgm:pt modelId="{95E2DC0B-6066-4751-9955-4D741B6A0CFB}" type="pres">
      <dgm:prSet presAssocID="{96A8CCDA-C110-40BE-8903-65E885420151}" presName="sibTrans" presStyleCnt="0"/>
      <dgm:spPr/>
    </dgm:pt>
    <dgm:pt modelId="{E90D7392-EE6E-43EF-B23E-AA65D0791687}" type="pres">
      <dgm:prSet presAssocID="{00EEBDF3-D55C-4F6D-943D-61CCD74CA4CB}" presName="compNode" presStyleCnt="0"/>
      <dgm:spPr/>
    </dgm:pt>
    <dgm:pt modelId="{85471C5A-932D-4015-BD5A-D191680104C9}" type="pres">
      <dgm:prSet presAssocID="{00EEBDF3-D55C-4F6D-943D-61CCD74CA4CB}" presName="bgRect" presStyleLbl="bgShp" presStyleIdx="1" presStyleCnt="2" custLinFactNeighborX="991" custLinFactNeighborY="1778"/>
      <dgm:spPr/>
    </dgm:pt>
    <dgm:pt modelId="{08A514AC-7AC5-4AC9-A11C-9AF8C51B80AD}" type="pres">
      <dgm:prSet presAssocID="{00EEBDF3-D55C-4F6D-943D-61CCD74CA4CB}" presName="iconRect" presStyleLbl="node1" presStyleIdx="1" presStyleCnt="2"/>
      <dgm:spPr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ily Calendar"/>
        </a:ext>
      </dgm:extLst>
    </dgm:pt>
    <dgm:pt modelId="{CD43796D-DFC5-4245-8DDC-A7910F1BCED6}" type="pres">
      <dgm:prSet presAssocID="{00EEBDF3-D55C-4F6D-943D-61CCD74CA4CB}" presName="spaceRect" presStyleCnt="0"/>
      <dgm:spPr/>
    </dgm:pt>
    <dgm:pt modelId="{FE321B64-203B-4770-9E58-381F0CCF19CA}" type="pres">
      <dgm:prSet presAssocID="{00EEBDF3-D55C-4F6D-943D-61CCD74CA4CB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5303A428-B42E-4681-9AB0-5F3C0982FE78}" type="presOf" srcId="{A2561A66-E4C4-4729-9C26-0856B2AD2450}" destId="{5B2B3574-5884-4B5D-A90E-0CF3E133D1CC}" srcOrd="0" destOrd="0" presId="urn:microsoft.com/office/officeart/2018/2/layout/IconVerticalSolidList"/>
    <dgm:cxn modelId="{F21C8532-9F65-4814-BE43-F6EAD35E1708}" srcId="{78F382C9-0F08-444C-A713-33B6D869E26D}" destId="{00EEBDF3-D55C-4F6D-943D-61CCD74CA4CB}" srcOrd="1" destOrd="0" parTransId="{42F0C728-4F03-4B7D-A60B-688B2E16556D}" sibTransId="{B6D0F54D-FE64-4A1F-90A3-D983A46E28B2}"/>
    <dgm:cxn modelId="{E8F9D444-6C07-4A2D-9355-097914B0BD50}" type="presOf" srcId="{78F382C9-0F08-444C-A713-33B6D869E26D}" destId="{1D968D7D-B0BB-4195-BF9F-AA04840E13B9}" srcOrd="0" destOrd="0" presId="urn:microsoft.com/office/officeart/2018/2/layout/IconVerticalSolidList"/>
    <dgm:cxn modelId="{ACE45273-3AB0-429C-AA83-2B131524F9F7}" srcId="{78F382C9-0F08-444C-A713-33B6D869E26D}" destId="{A2561A66-E4C4-4729-9C26-0856B2AD2450}" srcOrd="0" destOrd="0" parTransId="{E71AFF59-9D62-4DAA-9303-C70B71CA8B6D}" sibTransId="{96A8CCDA-C110-40BE-8903-65E885420151}"/>
    <dgm:cxn modelId="{14528E84-6CE5-4036-8339-1EB577E4AB58}" type="presOf" srcId="{00EEBDF3-D55C-4F6D-943D-61CCD74CA4CB}" destId="{FE321B64-203B-4770-9E58-381F0CCF19CA}" srcOrd="0" destOrd="0" presId="urn:microsoft.com/office/officeart/2018/2/layout/IconVerticalSolidList"/>
    <dgm:cxn modelId="{65080A91-3C9B-4198-89EF-E36A81725B84}" type="presParOf" srcId="{1D968D7D-B0BB-4195-BF9F-AA04840E13B9}" destId="{71FE02F5-4BC1-4EDA-B9CF-E421B40C4BFD}" srcOrd="0" destOrd="0" presId="urn:microsoft.com/office/officeart/2018/2/layout/IconVerticalSolidList"/>
    <dgm:cxn modelId="{090934BB-CF6A-4099-A7DA-5BE23CE93B24}" type="presParOf" srcId="{71FE02F5-4BC1-4EDA-B9CF-E421B40C4BFD}" destId="{306E7338-B45A-4996-B90E-E9FB63D826EA}" srcOrd="0" destOrd="0" presId="urn:microsoft.com/office/officeart/2018/2/layout/IconVerticalSolidList"/>
    <dgm:cxn modelId="{02FD4076-390C-4DFF-B4FD-94DDF669D0CD}" type="presParOf" srcId="{71FE02F5-4BC1-4EDA-B9CF-E421B40C4BFD}" destId="{CB87A2CD-22E0-40CF-B87B-F5D9A0168D02}" srcOrd="1" destOrd="0" presId="urn:microsoft.com/office/officeart/2018/2/layout/IconVerticalSolidList"/>
    <dgm:cxn modelId="{BE57D34D-9558-446B-B3E6-B27C94F0C9E3}" type="presParOf" srcId="{71FE02F5-4BC1-4EDA-B9CF-E421B40C4BFD}" destId="{15AC6402-AEA7-44D5-9896-4405D8E2B94A}" srcOrd="2" destOrd="0" presId="urn:microsoft.com/office/officeart/2018/2/layout/IconVerticalSolidList"/>
    <dgm:cxn modelId="{A0130095-874F-4124-8D85-C95E1C90BE1C}" type="presParOf" srcId="{71FE02F5-4BC1-4EDA-B9CF-E421B40C4BFD}" destId="{5B2B3574-5884-4B5D-A90E-0CF3E133D1CC}" srcOrd="3" destOrd="0" presId="urn:microsoft.com/office/officeart/2018/2/layout/IconVerticalSolidList"/>
    <dgm:cxn modelId="{A16CDF22-03C9-4CC5-BF51-4FB5E12D35BC}" type="presParOf" srcId="{1D968D7D-B0BB-4195-BF9F-AA04840E13B9}" destId="{95E2DC0B-6066-4751-9955-4D741B6A0CFB}" srcOrd="1" destOrd="0" presId="urn:microsoft.com/office/officeart/2018/2/layout/IconVerticalSolidList"/>
    <dgm:cxn modelId="{966E91D0-4647-4EB3-9D7A-C1EEB660116B}" type="presParOf" srcId="{1D968D7D-B0BB-4195-BF9F-AA04840E13B9}" destId="{E90D7392-EE6E-43EF-B23E-AA65D0791687}" srcOrd="2" destOrd="0" presId="urn:microsoft.com/office/officeart/2018/2/layout/IconVerticalSolidList"/>
    <dgm:cxn modelId="{D8E73836-07CE-4FAE-8119-5AD79F00BC4B}" type="presParOf" srcId="{E90D7392-EE6E-43EF-B23E-AA65D0791687}" destId="{85471C5A-932D-4015-BD5A-D191680104C9}" srcOrd="0" destOrd="0" presId="urn:microsoft.com/office/officeart/2018/2/layout/IconVerticalSolidList"/>
    <dgm:cxn modelId="{B51E08F5-D75B-48AD-84A6-438751F6D653}" type="presParOf" srcId="{E90D7392-EE6E-43EF-B23E-AA65D0791687}" destId="{08A514AC-7AC5-4AC9-A11C-9AF8C51B80AD}" srcOrd="1" destOrd="0" presId="urn:microsoft.com/office/officeart/2018/2/layout/IconVerticalSolidList"/>
    <dgm:cxn modelId="{AE101AE2-1F01-4548-B79B-1661D91E1EA2}" type="presParOf" srcId="{E90D7392-EE6E-43EF-B23E-AA65D0791687}" destId="{CD43796D-DFC5-4245-8DDC-A7910F1BCED6}" srcOrd="2" destOrd="0" presId="urn:microsoft.com/office/officeart/2018/2/layout/IconVerticalSolidList"/>
    <dgm:cxn modelId="{FFB8ABC7-E38C-440E-9031-FCCA571E88C1}" type="presParOf" srcId="{E90D7392-EE6E-43EF-B23E-AA65D0791687}" destId="{FE321B64-203B-4770-9E58-381F0CCF19C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6E7338-B45A-4996-B90E-E9FB63D826EA}">
      <dsp:nvSpPr>
        <dsp:cNvPr id="0" name=""/>
        <dsp:cNvSpPr/>
      </dsp:nvSpPr>
      <dsp:spPr>
        <a:xfrm>
          <a:off x="0" y="593586"/>
          <a:ext cx="8919292" cy="109585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87A2CD-22E0-40CF-B87B-F5D9A0168D02}">
      <dsp:nvSpPr>
        <dsp:cNvPr id="0" name=""/>
        <dsp:cNvSpPr/>
      </dsp:nvSpPr>
      <dsp:spPr>
        <a:xfrm>
          <a:off x="331495" y="840152"/>
          <a:ext cx="602718" cy="602718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"/>
              </a:ext>
            </a:extLst>
          </a:blip>
          <a:stretch>
            <a:fillRect/>
          </a:stretch>
        </a:blip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B2B3574-5884-4B5D-A90E-0CF3E133D1CC}">
      <dsp:nvSpPr>
        <dsp:cNvPr id="0" name=""/>
        <dsp:cNvSpPr/>
      </dsp:nvSpPr>
      <dsp:spPr>
        <a:xfrm>
          <a:off x="1265708" y="593586"/>
          <a:ext cx="7653583" cy="1095851"/>
        </a:xfrm>
        <a:prstGeom prst="rect">
          <a:avLst/>
        </a:prstGeom>
        <a:noFill/>
        <a:ln w="6350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978" tIns="115978" rIns="115978" bIns="11597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b="1" i="1" u="sng" kern="1200" dirty="0"/>
            <a:t>Prochaine </a:t>
          </a:r>
          <a:r>
            <a:rPr lang="fr-FR" sz="2500" b="1" i="1" u="sng" kern="1200" dirty="0" err="1"/>
            <a:t>visio</a:t>
          </a:r>
          <a:r>
            <a:rPr lang="fr-FR" sz="2500" b="1" i="1" u="sng" kern="1200" dirty="0"/>
            <a:t> : le </a:t>
          </a:r>
          <a:r>
            <a:rPr lang="fr-FR" sz="2500" b="1" i="1" u="sng" kern="1200" dirty="0">
              <a:latin typeface="Roboto Bold"/>
            </a:rPr>
            <a:t>7 août 2026</a:t>
          </a:r>
          <a:endParaRPr lang="en-US" sz="2500" kern="1200" dirty="0"/>
        </a:p>
      </dsp:txBody>
      <dsp:txXfrm>
        <a:off x="1265708" y="593586"/>
        <a:ext cx="7653583" cy="1095851"/>
      </dsp:txXfrm>
    </dsp:sp>
    <dsp:sp modelId="{85471C5A-932D-4015-BD5A-D191680104C9}">
      <dsp:nvSpPr>
        <dsp:cNvPr id="0" name=""/>
        <dsp:cNvSpPr/>
      </dsp:nvSpPr>
      <dsp:spPr>
        <a:xfrm>
          <a:off x="0" y="1982884"/>
          <a:ext cx="8919292" cy="109585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A514AC-7AC5-4AC9-A11C-9AF8C51B80AD}">
      <dsp:nvSpPr>
        <dsp:cNvPr id="0" name=""/>
        <dsp:cNvSpPr/>
      </dsp:nvSpPr>
      <dsp:spPr>
        <a:xfrm>
          <a:off x="331495" y="2209966"/>
          <a:ext cx="602718" cy="602718"/>
        </a:xfrm>
        <a:prstGeom prst="rect">
          <a:avLst/>
        </a:prstGeom>
        <a:blipFill>
          <a:blip xmlns:r="http://schemas.openxmlformats.org/officeDocument/2006/relationships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E321B64-203B-4770-9E58-381F0CCF19CA}">
      <dsp:nvSpPr>
        <dsp:cNvPr id="0" name=""/>
        <dsp:cNvSpPr/>
      </dsp:nvSpPr>
      <dsp:spPr>
        <a:xfrm>
          <a:off x="1265708" y="1963400"/>
          <a:ext cx="7653583" cy="1095851"/>
        </a:xfrm>
        <a:prstGeom prst="rect">
          <a:avLst/>
        </a:prstGeom>
        <a:noFill/>
        <a:ln w="6350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978" tIns="115978" rIns="115978" bIns="115978" numCol="1" spcCol="1270" anchor="ctr" anchorCtr="0">
          <a:noAutofit/>
        </a:bodyPr>
        <a:lstStyle/>
        <a:p>
          <a:pPr marL="0" lvl="0" indent="0" algn="l" defTabSz="111125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b="1" i="1" kern="1200" dirty="0"/>
            <a:t>Calendrier des </a:t>
          </a:r>
          <a:r>
            <a:rPr lang="fr-FR" sz="2500" b="1" i="1" kern="1200" dirty="0" err="1"/>
            <a:t>visios</a:t>
          </a:r>
          <a:r>
            <a:rPr lang="fr-FR" sz="2500" b="1" i="1" kern="1200" dirty="0"/>
            <a:t> suivantes : </a:t>
          </a:r>
          <a:r>
            <a:rPr lang="fr-FR" sz="2500" b="1" i="1" kern="1200" dirty="0">
              <a:latin typeface="Roboto Bold"/>
            </a:rPr>
            <a:t>4</a:t>
          </a:r>
          <a:r>
            <a:rPr lang="fr-FR" sz="2500" b="1" i="1" kern="1200" dirty="0"/>
            <a:t> septembre, </a:t>
          </a:r>
          <a:br>
            <a:rPr lang="fr-FR" sz="2500" b="1" i="1" kern="1200" dirty="0">
              <a:latin typeface="Roboto Bold"/>
            </a:rPr>
          </a:br>
          <a:r>
            <a:rPr lang="fr-FR" sz="2500" b="1" i="1" kern="1200" dirty="0"/>
            <a:t>2 octobre, 6 novembre, 4 décembre </a:t>
          </a:r>
          <a:endParaRPr lang="en-US" sz="2500" b="0" i="0" kern="1200" dirty="0">
            <a:latin typeface="Roboto Bold"/>
          </a:endParaRPr>
        </a:p>
      </dsp:txBody>
      <dsp:txXfrm>
        <a:off x="1265708" y="1963400"/>
        <a:ext cx="7653583" cy="10958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59AE81-B41D-4CBD-A72E-E95FE90AEE3E}" type="datetimeFigureOut">
              <a:rPr lang="fr-FR" smtClean="0"/>
              <a:t>29/06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96FF1-61F3-4D8F-A78A-72B95AFDCB7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3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96FF1-61F3-4D8F-A78A-72B95AFDCB7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0712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96FF1-61F3-4D8F-A78A-72B95AFDCB7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8716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96FF1-61F3-4D8F-A78A-72B95AFDCB77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2903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svg"/><Relationship Id="rId4" Type="http://schemas.openxmlformats.org/officeDocument/2006/relationships/image" Target="../media/image25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1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 Titre Dar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9EB196-157F-ACDB-BA8F-CC3DEBB5BF0D}"/>
              </a:ext>
            </a:extLst>
          </p:cNvPr>
          <p:cNvSpPr/>
          <p:nvPr/>
        </p:nvSpPr>
        <p:spPr>
          <a:xfrm>
            <a:off x="1940942" y="0"/>
            <a:ext cx="10287813" cy="6858000"/>
          </a:xfrm>
          <a:prstGeom prst="rect">
            <a:avLst/>
          </a:prstGeom>
          <a:solidFill>
            <a:srgbClr val="F3F4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5099439-B4B8-57F4-9C00-4FA31C8D1754}"/>
              </a:ext>
            </a:extLst>
          </p:cNvPr>
          <p:cNvSpPr txBox="1">
            <a:spLocks/>
          </p:cNvSpPr>
          <p:nvPr/>
        </p:nvSpPr>
        <p:spPr>
          <a:xfrm>
            <a:off x="3818238" y="2236838"/>
            <a:ext cx="7681611" cy="134456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B72185F-E360-5C56-08D9-6F0C42F66A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28755" cy="5196031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0390DBD2-A11D-E009-F265-7C936FCA7EB2}"/>
              </a:ext>
            </a:extLst>
          </p:cNvPr>
          <p:cNvSpPr/>
          <p:nvPr/>
        </p:nvSpPr>
        <p:spPr>
          <a:xfrm>
            <a:off x="5040000" y="73280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DBE3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1395F5AB-02B0-1DDB-04C1-59785E9F08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0" y="2032499"/>
            <a:ext cx="6636063" cy="1386876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8BFDC3B2-A4A3-7DB9-5968-5AE9F5B10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3703638"/>
            <a:ext cx="3451225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3DDBCA31-764A-BA2E-638E-FB8B7714E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9434" y="79022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pic>
        <p:nvPicPr>
          <p:cNvPr id="3" name="Image 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D701EBE7-DF10-D9A9-1CAA-BE50FC33B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9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9">
          <p15:clr>
            <a:srgbClr val="FBAE40"/>
          </p15:clr>
        </p15:guide>
        <p15:guide id="2" pos="211">
          <p15:clr>
            <a:srgbClr val="FBAE40"/>
          </p15:clr>
        </p15:guide>
        <p15:guide id="3" pos="3160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.4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535E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BB2BD5F-7A6C-3577-83A2-20BCE103634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935385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2115DFFA-A198-BB8B-2622-0F9705BC4E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78987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7533D16F-31F9-3AC6-E84B-0A8D5F7E5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0237070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2721C87-B84D-0873-98ED-6BDD9CE1A7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31473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A5D995F4-9279-DB5B-A4AB-2DDB7C838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9570551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1.4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7D6F04DE-7A1B-7C78-542E-4758C16CF3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F0A5515A-F97A-462F-9622-B20CD4BB306F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09204E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268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1.4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09204E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BB2BD5F-7A6C-3577-83A2-20BCE103634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7946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8E495474-B9FD-5D22-F724-FDF0840A3C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2" y="0"/>
            <a:ext cx="12184175" cy="520137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5C398A-59EE-0B1C-6583-A3C3BC64B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349576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A0B485-EACF-A4C9-DC0D-DBD556352D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225493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3" name="Image 2" descr="Une image contenant noir&#10;&#10;Description générée automatiquement">
            <a:extLst>
              <a:ext uri="{FF2B5EF4-FFF2-40B4-BE49-F238E27FC236}">
                <a16:creationId xmlns:a16="http://schemas.microsoft.com/office/drawing/2014/main" id="{BEA5375E-D9E8-3909-AF3E-98147A3AC8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42857" cy="1428571"/>
          </a:xfrm>
          <a:prstGeom prst="rect">
            <a:avLst/>
          </a:prstGeom>
        </p:spPr>
      </p:pic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7D6F04DE-7A1B-7C78-542E-4758C16CF3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936097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4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BB2BD5F-7A6C-3577-83A2-20BCE103634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5906950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D3E81C3D-1443-D202-1693-202294F788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968BA4E-1476-E6CC-A4A6-F191C5152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16697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2 Sommai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1F827EF-0313-5E01-67AB-F7D34A67B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itre 1">
            <a:extLst>
              <a:ext uri="{FF2B5EF4-FFF2-40B4-BE49-F238E27FC236}">
                <a16:creationId xmlns:a16="http://schemas.microsoft.com/office/drawing/2014/main" id="{0218C577-4F86-4DAA-6781-62AD11FAD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id="{1C1166E9-28EE-7136-36C7-17321459DBC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68000" y="1162050"/>
            <a:ext cx="4500000" cy="51466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contenu 13">
            <a:extLst>
              <a:ext uri="{FF2B5EF4-FFF2-40B4-BE49-F238E27FC236}">
                <a16:creationId xmlns:a16="http://schemas.microsoft.com/office/drawing/2014/main" id="{00130D98-BE13-F537-E42A-F9A7366651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75501" y="1162050"/>
            <a:ext cx="4500000" cy="51466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9C88A7C-6039-9B94-98DB-2F5DD538B1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2" name="Espace réservé du pied de page 6">
            <a:extLst>
              <a:ext uri="{FF2B5EF4-FFF2-40B4-BE49-F238E27FC236}">
                <a16:creationId xmlns:a16="http://schemas.microsoft.com/office/drawing/2014/main" id="{00EA0982-BE86-692B-F595-222F567E066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14499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C071AC10-A95F-E940-92E3-B9778FEFB3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226194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2B808D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4EEE30D-57E8-B558-0357-6106E7341DB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32361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5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E1A0BD7-7B5B-74F1-1F0A-A6B4A1A8787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7566809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B46588C1-4C02-64EB-61DA-FD3A686689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1B55124-DE03-8A4B-6706-3DB589798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497510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FBA46D10-7C30-7FF5-5B40-DBBBD065DC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52263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94F1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833BE995-1B06-164F-56D4-5463617FC5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469636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6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934C904D-6BCF-3A78-D294-8D139A2F012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3641215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24879571-91CC-EA84-AA67-FDE54336E9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A3BB6A0-1144-D898-582B-01D783CC5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132098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A3667D4-EB6B-6873-D524-699FC2F5E2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4219175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7AD2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5F1C25DF-32EE-C9A7-8AD5-CA46CD43F88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49553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1_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logo, Graphique&#10;&#10;Description générée automatiquement">
            <a:extLst>
              <a:ext uri="{FF2B5EF4-FFF2-40B4-BE49-F238E27FC236}">
                <a16:creationId xmlns:a16="http://schemas.microsoft.com/office/drawing/2014/main" id="{96329381-D022-FCD8-53A5-C1800C090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89902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98122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7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605AB181-9EFF-AE50-A534-BA13F7DE9ED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2839496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F7ACBB79-5AA4-8445-F8E3-FA070B296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16F2F19-5319-988C-DD16-580763CA6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99873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EDE6969-5662-50A5-6056-3E27B7DEDE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28866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998745B9-4B35-3766-B5B9-F955FD6C673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321611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8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22114053-6664-0683-67CA-5B1CAAC3AEF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4468247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BD597E1-4275-3715-15DA-6ABE9DE1EA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DAD53DD-B008-D4E6-9108-B74D67EAC7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89754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C6B592C-B57E-4EA3-A01E-15946220DD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87696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4294315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C78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B5DFB04D-59AC-4B58-4ACA-5EC49A3B9E4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981850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9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6C3703-175C-F920-32B2-7670D1B8182C}"/>
              </a:ext>
            </a:extLst>
          </p:cNvPr>
          <p:cNvSpPr/>
          <p:nvPr userDrawn="1"/>
        </p:nvSpPr>
        <p:spPr>
          <a:xfrm>
            <a:off x="-9525" y="0"/>
            <a:ext cx="1911600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581FC2AF-82F8-4ECA-2D97-14FC69CEEF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42451275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0 Plein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6918E0B-EB3A-04DF-157E-AFD208E8F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8DC2C1E5-AAC8-5D96-4540-7F9CDD53E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6525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132ACE3E-47DB-A1E9-DDC4-3E0A4AAB261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063625"/>
            <a:ext cx="10837863" cy="19499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texte 16">
            <a:extLst>
              <a:ext uri="{FF2B5EF4-FFF2-40B4-BE49-F238E27FC236}">
                <a16:creationId xmlns:a16="http://schemas.microsoft.com/office/drawing/2014/main" id="{D23B660E-E58C-7F68-B649-D5A91A53C386}"/>
              </a:ext>
            </a:extLst>
          </p:cNvPr>
          <p:cNvSpPr>
            <a:spLocks noGrp="1"/>
          </p:cNvSpPr>
          <p:nvPr/>
        </p:nvSpPr>
        <p:spPr>
          <a:xfrm>
            <a:off x="838200" y="3167436"/>
            <a:ext cx="10837862" cy="3188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9204E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920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fr-FR"/>
          </a:p>
        </p:txBody>
      </p:sp>
      <p:sp>
        <p:nvSpPr>
          <p:cNvPr id="3" name="Espace réservé du texte 16">
            <a:extLst>
              <a:ext uri="{FF2B5EF4-FFF2-40B4-BE49-F238E27FC236}">
                <a16:creationId xmlns:a16="http://schemas.microsoft.com/office/drawing/2014/main" id="{D23B660E-E58C-7F68-B649-D5A91A53C386}"/>
              </a:ext>
            </a:extLst>
          </p:cNvPr>
          <p:cNvSpPr>
            <a:spLocks noGrp="1"/>
          </p:cNvSpPr>
          <p:nvPr/>
        </p:nvSpPr>
        <p:spPr>
          <a:xfrm>
            <a:off x="838201" y="3122628"/>
            <a:ext cx="10837862" cy="3188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9204E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920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fr-FR"/>
          </a:p>
        </p:txBody>
      </p:sp>
      <p:sp>
        <p:nvSpPr>
          <p:cNvPr id="4" name="Espace réservé du texte 16">
            <a:extLst>
              <a:ext uri="{FF2B5EF4-FFF2-40B4-BE49-F238E27FC236}">
                <a16:creationId xmlns:a16="http://schemas.microsoft.com/office/drawing/2014/main" id="{AAAF0F7E-74ED-3688-62EC-0386E9E817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98" y="3122628"/>
            <a:ext cx="10837861" cy="31860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9E970DA1-A105-3BA4-F5F5-B99C6C7057E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52368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pture d’écran, bleu, Bleu électrique&#10;&#10;Description générée automatiquement">
            <a:extLst>
              <a:ext uri="{FF2B5EF4-FFF2-40B4-BE49-F238E27FC236}">
                <a16:creationId xmlns:a16="http://schemas.microsoft.com/office/drawing/2014/main" id="{C88CA35E-5B58-248E-2906-70BEDE4183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80414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190946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11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9EB196-157F-ACDB-BA8F-CC3DEBB5BF0D}"/>
              </a:ext>
            </a:extLst>
          </p:cNvPr>
          <p:cNvSpPr/>
          <p:nvPr/>
        </p:nvSpPr>
        <p:spPr>
          <a:xfrm>
            <a:off x="1940942" y="0"/>
            <a:ext cx="10287813" cy="6858000"/>
          </a:xfrm>
          <a:prstGeom prst="rect">
            <a:avLst/>
          </a:prstGeom>
          <a:solidFill>
            <a:srgbClr val="F3F4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5099439-B4B8-57F4-9C00-4FA31C8D1754}"/>
              </a:ext>
            </a:extLst>
          </p:cNvPr>
          <p:cNvSpPr txBox="1">
            <a:spLocks/>
          </p:cNvSpPr>
          <p:nvPr/>
        </p:nvSpPr>
        <p:spPr>
          <a:xfrm>
            <a:off x="3818238" y="2236838"/>
            <a:ext cx="7681611" cy="134456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B72185F-E360-5C56-08D9-6F0C42F66A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57350"/>
            <a:ext cx="12228755" cy="5196031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0390DBD2-A11D-E009-F265-7C936FCA7EB2}"/>
              </a:ext>
            </a:extLst>
          </p:cNvPr>
          <p:cNvSpPr/>
          <p:nvPr/>
        </p:nvSpPr>
        <p:spPr>
          <a:xfrm>
            <a:off x="5040000" y="237110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DBE3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1395F5AB-02B0-1DDB-04C1-59785E9F08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0" y="3423149"/>
            <a:ext cx="6636063" cy="1386876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8BFDC3B2-A4A3-7DB9-5968-5AE9F5B10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5094288"/>
            <a:ext cx="3451225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3DDBCA31-764A-BA2E-638E-FB8B7714E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9434" y="242852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pic>
        <p:nvPicPr>
          <p:cNvPr id="3" name="Image 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D701EBE7-DF10-D9A9-1CAA-BE50FC33B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221080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65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9">
          <p15:clr>
            <a:srgbClr val="FBAE40"/>
          </p15:clr>
        </p15:guide>
        <p15:guide id="2" pos="211">
          <p15:clr>
            <a:srgbClr val="FBAE40"/>
          </p15:clr>
        </p15:guide>
        <p15:guide id="3" pos="3160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39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3E588E89-75BD-1CB7-A4D3-D7539ECC7483}"/>
              </a:ext>
            </a:extLst>
          </p:cNvPr>
          <p:cNvSpPr txBox="1"/>
          <p:nvPr/>
        </p:nvSpPr>
        <p:spPr>
          <a:xfrm>
            <a:off x="466808" y="249079"/>
            <a:ext cx="3318993" cy="616696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773"/>
              </a:lnSpc>
            </a:pPr>
            <a:endParaRPr sz="120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17A2EEE-5FD5-A153-6B65-F0E7B82FDA0B}"/>
              </a:ext>
            </a:extLst>
          </p:cNvPr>
          <p:cNvGrpSpPr/>
          <p:nvPr userDrawn="1"/>
        </p:nvGrpSpPr>
        <p:grpSpPr>
          <a:xfrm>
            <a:off x="464820" y="6410005"/>
            <a:ext cx="441960" cy="447995"/>
            <a:chOff x="6172200" y="6787117"/>
            <a:chExt cx="662940" cy="671993"/>
          </a:xfrm>
        </p:grpSpPr>
        <p:sp>
          <p:nvSpPr>
            <p:cNvPr id="11" name="Freeform 4">
              <a:hlinkClick r:id="" action="ppaction://noaction"/>
              <a:extLst>
                <a:ext uri="{FF2B5EF4-FFF2-40B4-BE49-F238E27FC236}">
                  <a16:creationId xmlns:a16="http://schemas.microsoft.com/office/drawing/2014/main" id="{1A581B73-5733-7249-280A-CEC5BBFE4B8A}"/>
                </a:ext>
              </a:extLst>
            </p:cNvPr>
            <p:cNvSpPr/>
            <p:nvPr/>
          </p:nvSpPr>
          <p:spPr>
            <a:xfrm>
              <a:off x="6172200" y="6796170"/>
              <a:ext cx="662940" cy="662940"/>
            </a:xfrm>
            <a:custGeom>
              <a:avLst/>
              <a:gdLst/>
              <a:ahLst/>
              <a:cxnLst/>
              <a:rect l="l" t="t" r="r" b="b"/>
              <a:pathLst>
                <a:path w="662940" h="662940">
                  <a:moveTo>
                    <a:pt x="0" y="0"/>
                  </a:moveTo>
                  <a:lnTo>
                    <a:pt x="662940" y="0"/>
                  </a:lnTo>
                  <a:lnTo>
                    <a:pt x="662940" y="662940"/>
                  </a:lnTo>
                  <a:lnTo>
                    <a:pt x="0" y="6629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FR"/>
            </a:p>
          </p:txBody>
        </p:sp>
        <p:pic>
          <p:nvPicPr>
            <p:cNvPr id="12" name="Graphique 11" descr="Logement contour">
              <a:extLst>
                <a:ext uri="{FF2B5EF4-FFF2-40B4-BE49-F238E27FC236}">
                  <a16:creationId xmlns:a16="http://schemas.microsoft.com/office/drawing/2014/main" id="{578AF93E-D6C1-B1D3-C40E-5994D983BCE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97670" y="6787117"/>
              <a:ext cx="612000" cy="612000"/>
            </a:xfrm>
            <a:prstGeom prst="rect">
              <a:avLst/>
            </a:prstGeom>
          </p:spPr>
        </p:pic>
      </p:grpSp>
      <p:grpSp>
        <p:nvGrpSpPr>
          <p:cNvPr id="2" name="Group 11">
            <a:extLst>
              <a:ext uri="{FF2B5EF4-FFF2-40B4-BE49-F238E27FC236}">
                <a16:creationId xmlns:a16="http://schemas.microsoft.com/office/drawing/2014/main" id="{3BB7B9DD-8DBC-E789-F533-6A24262E2D1E}"/>
              </a:ext>
            </a:extLst>
          </p:cNvPr>
          <p:cNvGrpSpPr/>
          <p:nvPr userDrawn="1"/>
        </p:nvGrpSpPr>
        <p:grpSpPr>
          <a:xfrm>
            <a:off x="10120397" y="6410005"/>
            <a:ext cx="1606783" cy="441960"/>
            <a:chOff x="0" y="0"/>
            <a:chExt cx="3213565" cy="883920"/>
          </a:xfrm>
        </p:grpSpPr>
        <p:sp>
          <p:nvSpPr>
            <p:cNvPr id="3" name="Freeform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AD0C64BC-D035-0E31-03A8-3548362F7F9A}"/>
                </a:ext>
              </a:extLst>
            </p:cNvPr>
            <p:cNvSpPr/>
            <p:nvPr/>
          </p:nvSpPr>
          <p:spPr>
            <a:xfrm>
              <a:off x="2329645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FR"/>
            </a:p>
          </p:txBody>
        </p:sp>
        <p:sp>
          <p:nvSpPr>
            <p:cNvPr id="4" name="Freeform 13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F99C0E45-D557-8E48-5F2A-6FB0E892502B}"/>
                </a:ext>
              </a:extLst>
            </p:cNvPr>
            <p:cNvSpPr/>
            <p:nvPr/>
          </p:nvSpPr>
          <p:spPr>
            <a:xfrm rot="-10800000">
              <a:off x="0" y="0"/>
              <a:ext cx="883920" cy="883920"/>
            </a:xfrm>
            <a:custGeom>
              <a:avLst/>
              <a:gdLst/>
              <a:ahLst/>
              <a:cxnLst/>
              <a:rect l="l" t="t" r="r" b="b"/>
              <a:pathLst>
                <a:path w="883920" h="883920">
                  <a:moveTo>
                    <a:pt x="0" y="0"/>
                  </a:moveTo>
                  <a:lnTo>
                    <a:pt x="883920" y="0"/>
                  </a:lnTo>
                  <a:lnTo>
                    <a:pt x="883920" y="883920"/>
                  </a:lnTo>
                  <a:lnTo>
                    <a:pt x="0" y="8839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FR" sz="120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65D2BD0-A486-256F-F67E-D9F35F014816}"/>
              </a:ext>
            </a:extLst>
          </p:cNvPr>
          <p:cNvSpPr/>
          <p:nvPr userDrawn="1"/>
        </p:nvSpPr>
        <p:spPr>
          <a:xfrm>
            <a:off x="5010073" y="454926"/>
            <a:ext cx="6715119" cy="573206"/>
          </a:xfrm>
          <a:prstGeom prst="rect">
            <a:avLst/>
          </a:prstGeom>
          <a:solidFill>
            <a:schemeClr val="accent6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5D6367-FA70-A2DB-DD4E-A57BE30802F9}"/>
              </a:ext>
            </a:extLst>
          </p:cNvPr>
          <p:cNvSpPr/>
          <p:nvPr userDrawn="1"/>
        </p:nvSpPr>
        <p:spPr>
          <a:xfrm>
            <a:off x="481800" y="451186"/>
            <a:ext cx="4528273" cy="57320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11555284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.7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6242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2661278-D226-4703-9DCB-931160E8E2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911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0" progId="TCLayout.ActiveDocument.1">
                  <p:embed/>
                </p:oleObj>
              </mc:Choice>
              <mc:Fallback>
                <p:oleObj name="Diapositive think-cell" r:id="rId3" imgW="473" imgH="47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2661278-D226-4703-9DCB-931160E8E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3979" y="81798"/>
            <a:ext cx="10744628" cy="648072"/>
          </a:xfr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lang="fr-FR" sz="2000" b="0" cap="all" baseline="0" dirty="0">
                <a:solidFill>
                  <a:srgbClr val="0070C0"/>
                </a:solidFill>
              </a:defRPr>
            </a:lvl1pPr>
          </a:lstStyle>
          <a:p>
            <a:pPr lvl="0"/>
            <a:r>
              <a:rPr kumimoji="0" lang="fr-FR"/>
              <a:t>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13" y="1596413"/>
            <a:ext cx="10753194" cy="42973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fr-FR" sz="1400" dirty="0"/>
            </a:lvl1pPr>
            <a:lvl2pPr>
              <a:buClr>
                <a:srgbClr val="0070C0"/>
              </a:buClr>
              <a:defRPr lang="fr-FR" sz="1400" dirty="0"/>
            </a:lvl2pPr>
            <a:lvl3pPr>
              <a:buClr>
                <a:schemeClr val="accent2"/>
              </a:buClr>
              <a:defRPr lang="fr-FR" sz="1400" dirty="0"/>
            </a:lvl3pPr>
            <a:lvl4pPr>
              <a:defRPr lang="fr-FR" sz="1400" dirty="0"/>
            </a:lvl4pPr>
            <a:lvl5pPr marL="2028825" indent="-285750">
              <a:buClr>
                <a:srgbClr val="C00000"/>
              </a:buClr>
              <a:buSzPct val="80000"/>
              <a:buFont typeface="Wingdings" panose="05000000000000000000" pitchFamily="2" charset="2"/>
              <a:buChar char=""/>
              <a:defRPr sz="1400" dirty="0"/>
            </a:lvl5pPr>
          </a:lstStyle>
          <a:p>
            <a:pPr marL="174625" lvl="0" indent="-174625">
              <a:buClr>
                <a:schemeClr val="tx2"/>
              </a:buClr>
              <a:buFont typeface="Calibri" panose="020F0502020204030204" pitchFamily="34" charset="0"/>
              <a:buChar char="›"/>
            </a:pPr>
            <a:r>
              <a:rPr lang="fr-FR"/>
              <a:t>Cliquez pour modifier les styles du texte du masque</a:t>
            </a:r>
          </a:p>
          <a:p>
            <a:pPr marL="174625" lvl="1" indent="-174625">
              <a:buClr>
                <a:schemeClr val="tx2"/>
              </a:buClr>
              <a:buFont typeface="Calibri" panose="020F0502020204030204" pitchFamily="34" charset="0"/>
              <a:buChar char="›"/>
            </a:pPr>
            <a:r>
              <a:rPr lang="fr-FR"/>
              <a:t>Deuxième niveau</a:t>
            </a:r>
          </a:p>
          <a:p>
            <a:pPr marL="174625" lvl="2" indent="-174625">
              <a:buClr>
                <a:schemeClr val="tx2"/>
              </a:buClr>
              <a:buFont typeface="Calibri" panose="020F0502020204030204" pitchFamily="34" charset="0"/>
              <a:buChar char="›"/>
            </a:pPr>
            <a:r>
              <a:rPr lang="fr-FR"/>
              <a:t>Troisième niveau</a:t>
            </a:r>
          </a:p>
          <a:p>
            <a:pPr marL="174625" lvl="3" indent="-174625">
              <a:buClr>
                <a:schemeClr val="tx2"/>
              </a:buClr>
              <a:buFont typeface="Calibri" panose="020F0502020204030204" pitchFamily="34" charset="0"/>
              <a:buChar char="›"/>
            </a:pPr>
            <a:r>
              <a:rPr lang="fr-FR"/>
              <a:t>Quatrième niveau</a:t>
            </a:r>
          </a:p>
          <a:p>
            <a:pPr marL="174625" lvl="4" indent="-174625">
              <a:buClr>
                <a:schemeClr val="tx2"/>
              </a:buClr>
              <a:buFont typeface="Calibri" panose="020F0502020204030204" pitchFamily="34" charset="0"/>
              <a:buChar char="›"/>
            </a:pPr>
            <a:r>
              <a:rPr lang="fr-FR"/>
              <a:t>Cinquième niveau</a:t>
            </a:r>
            <a:endParaRPr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0526" y="6356351"/>
            <a:ext cx="422208" cy="365125"/>
          </a:xfrm>
        </p:spPr>
        <p:txBody>
          <a:bodyPr/>
          <a:lstStyle/>
          <a:p>
            <a:fld id="{33D6E5A2-EC83-451F-A719-9AC1370DD5CF}" type="slidenum">
              <a:pPr/>
              <a:t>‹N°›</a:t>
            </a:fld>
            <a:endParaRPr kumimoji="0" lang="fr-FR"/>
          </a:p>
        </p:txBody>
      </p:sp>
      <p:grpSp>
        <p:nvGrpSpPr>
          <p:cNvPr id="19" name="Group 1">
            <a:extLst>
              <a:ext uri="{FF2B5EF4-FFF2-40B4-BE49-F238E27FC236}">
                <a16:creationId xmlns:a16="http://schemas.microsoft.com/office/drawing/2014/main" id="{2799BBCB-FE73-419A-9D9F-01720A038F4B}"/>
              </a:ext>
            </a:extLst>
          </p:cNvPr>
          <p:cNvGrpSpPr/>
          <p:nvPr userDrawn="1"/>
        </p:nvGrpSpPr>
        <p:grpSpPr>
          <a:xfrm>
            <a:off x="53263" y="0"/>
            <a:ext cx="176576" cy="6861784"/>
            <a:chOff x="53263" y="0"/>
            <a:chExt cx="176576" cy="686178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5E2F72F-6525-4253-A8BD-E98EBC4D4321}"/>
                </a:ext>
              </a:extLst>
            </p:cNvPr>
            <p:cNvSpPr/>
            <p:nvPr userDrawn="1"/>
          </p:nvSpPr>
          <p:spPr>
            <a:xfrm>
              <a:off x="53263" y="3796484"/>
              <a:ext cx="176576" cy="2742429"/>
            </a:xfrm>
            <a:prstGeom prst="rect">
              <a:avLst/>
            </a:prstGeom>
            <a:solidFill>
              <a:srgbClr val="1F497D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A3342FB-D7E1-4416-8931-88D164F4B026}"/>
                </a:ext>
              </a:extLst>
            </p:cNvPr>
            <p:cNvSpPr/>
            <p:nvPr userDrawn="1"/>
          </p:nvSpPr>
          <p:spPr>
            <a:xfrm>
              <a:off x="53263" y="0"/>
              <a:ext cx="176576" cy="914400"/>
            </a:xfrm>
            <a:prstGeom prst="rect">
              <a:avLst/>
            </a:prstGeom>
            <a:solidFill>
              <a:srgbClr val="C00000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6067072-7987-4D8A-BF8E-6EA82E2DC425}"/>
                </a:ext>
              </a:extLst>
            </p:cNvPr>
            <p:cNvSpPr/>
            <p:nvPr userDrawn="1"/>
          </p:nvSpPr>
          <p:spPr>
            <a:xfrm>
              <a:off x="53263" y="914400"/>
              <a:ext cx="176576" cy="1595470"/>
            </a:xfrm>
            <a:prstGeom prst="rect">
              <a:avLst/>
            </a:prstGeom>
            <a:solidFill>
              <a:srgbClr val="0070C0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3469179-9A3B-4F1D-9034-065FDCDCB10D}"/>
                </a:ext>
              </a:extLst>
            </p:cNvPr>
            <p:cNvSpPr/>
            <p:nvPr userDrawn="1"/>
          </p:nvSpPr>
          <p:spPr>
            <a:xfrm>
              <a:off x="53263" y="2509870"/>
              <a:ext cx="176576" cy="1286614"/>
            </a:xfrm>
            <a:prstGeom prst="rect">
              <a:avLst/>
            </a:prstGeom>
            <a:solidFill>
              <a:srgbClr val="F68D36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A1D08E2-59B2-47CD-80A6-F20981F8564C}"/>
                </a:ext>
              </a:extLst>
            </p:cNvPr>
            <p:cNvSpPr/>
            <p:nvPr userDrawn="1"/>
          </p:nvSpPr>
          <p:spPr>
            <a:xfrm>
              <a:off x="53263" y="6792881"/>
              <a:ext cx="176576" cy="6890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Bef>
                  <a:spcPct val="20000"/>
                </a:spcBef>
                <a:buClr>
                  <a:srgbClr val="1F497D"/>
                </a:buClr>
                <a:buFont typeface="Wingdings" panose="05000000000000000000" pitchFamily="2" charset="2"/>
                <a:buChar char="§"/>
              </a:pPr>
              <a:endParaRPr lang="fr-FR" sz="1400">
                <a:solidFill>
                  <a:prstClr val="black"/>
                </a:solidFill>
              </a:endParaRPr>
            </a:p>
          </p:txBody>
        </p:sp>
        <p:pic>
          <p:nvPicPr>
            <p:cNvPr id="26" name="Picture 2" descr="logo cnaf - Enfance et Musique">
              <a:extLst>
                <a:ext uri="{FF2B5EF4-FFF2-40B4-BE49-F238E27FC236}">
                  <a16:creationId xmlns:a16="http://schemas.microsoft.com/office/drawing/2014/main" id="{A9629D53-325A-479E-86B4-B31253028B0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51" y="6543568"/>
              <a:ext cx="176400" cy="244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0F19216B-08EF-A4ED-189B-6CEBEDCA8203}"/>
              </a:ext>
            </a:extLst>
          </p:cNvPr>
          <p:cNvSpPr txBox="1"/>
          <p:nvPr userDrawn="1"/>
        </p:nvSpPr>
        <p:spPr>
          <a:xfrm>
            <a:off x="332662" y="6506829"/>
            <a:ext cx="29370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100" b="1">
                <a:solidFill>
                  <a:schemeClr val="bg1">
                    <a:lumMod val="65000"/>
                  </a:schemeClr>
                </a:solidFill>
              </a:rPr>
              <a:t>Direction des Systèmes d’Information - CNAF</a:t>
            </a:r>
          </a:p>
        </p:txBody>
      </p:sp>
    </p:spTree>
    <p:extLst>
      <p:ext uri="{BB962C8B-B14F-4D97-AF65-F5344CB8AC3E}">
        <p14:creationId xmlns:p14="http://schemas.microsoft.com/office/powerpoint/2010/main" val="10662722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.8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03D46087-16FB-D36B-F188-CFC14EA12ED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03020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 Titre Dar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99" y="2084439"/>
            <a:ext cx="7068063" cy="1219200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2A2F3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ECD53E4-69B6-170A-8756-620A34623E05}"/>
              </a:ext>
            </a:extLst>
          </p:cNvPr>
          <p:cNvSpPr/>
          <p:nvPr/>
        </p:nvSpPr>
        <p:spPr>
          <a:xfrm>
            <a:off x="4704822" y="3482362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A666340-A18C-A8BA-E0F0-1413C3A60FAD}"/>
              </a:ext>
            </a:extLst>
          </p:cNvPr>
          <p:cNvSpPr/>
          <p:nvPr/>
        </p:nvSpPr>
        <p:spPr>
          <a:xfrm>
            <a:off x="4608000" y="76536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20">
            <a:extLst>
              <a:ext uri="{FF2B5EF4-FFF2-40B4-BE49-F238E27FC236}">
                <a16:creationId xmlns:a16="http://schemas.microsoft.com/office/drawing/2014/main" id="{559467EF-79DF-1FF6-1383-2A8D22C9E9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6000" y="82278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sp>
        <p:nvSpPr>
          <p:cNvPr id="5" name="Espace réservé du texte 18">
            <a:extLst>
              <a:ext uri="{FF2B5EF4-FFF2-40B4-BE49-F238E27FC236}">
                <a16:creationId xmlns:a16="http://schemas.microsoft.com/office/drawing/2014/main" id="{899A1121-80BD-8B9D-2671-252F6B744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3733085"/>
            <a:ext cx="4724048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pic>
        <p:nvPicPr>
          <p:cNvPr id="11" name="Image 10" descr="Une image contenant Bleu électrique, bleu, symbole, Graphique&#10;&#10;Description générée automatiquement">
            <a:extLst>
              <a:ext uri="{FF2B5EF4-FFF2-40B4-BE49-F238E27FC236}">
                <a16:creationId xmlns:a16="http://schemas.microsoft.com/office/drawing/2014/main" id="{652C3097-6A33-131D-D92A-F59ED530E6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8489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362D18A-1AA2-658D-99A2-BB0283048E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44029" y="6075337"/>
            <a:ext cx="1632034" cy="466749"/>
          </a:xfrm>
          <a:prstGeom prst="rect">
            <a:avLst/>
          </a:prstGeom>
        </p:spPr>
      </p:pic>
      <p:pic>
        <p:nvPicPr>
          <p:cNvPr id="13" name="Image 1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FD080B4D-F3AB-1C12-5177-C34CAC13DE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07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7378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4763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2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D9E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82AEFF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5211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82AE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795896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2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82A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16CDC705-915D-036F-879E-49F7E005C57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068047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01359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59413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2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535E8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535E86">
              <a:alpha val="40000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087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535E8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87755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2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535E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16CDC705-915D-036F-879E-49F7E005C57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790888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0035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1129784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401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DBE3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526243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3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135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5C2F4EF2-30A4-AC99-51E0-07CC43C6A0E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829101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4092008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BFD9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2B808D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1164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BFD9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942253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3_4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17F0F71-5E64-514E-ADC0-9D9244B73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9C7A8401-DF62-684D-50CB-6D8B5FB34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EB1E1FA-6899-E0B8-231C-46CFE21AE7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5" name="Espace réservé du texte 16">
            <a:extLst>
              <a:ext uri="{FF2B5EF4-FFF2-40B4-BE49-F238E27FC236}">
                <a16:creationId xmlns:a16="http://schemas.microsoft.com/office/drawing/2014/main" id="{2B3D6DB9-3CED-0D0B-80BB-75B48902A2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7C4711A-0D09-0CAA-1D09-A327877CE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231B22A2-B7C0-4BE2-1547-C2F94EA9D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>
            <a:lvl1pPr>
              <a:defRPr>
                <a:solidFill>
                  <a:srgbClr val="013593"/>
                </a:solidFill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C2333E7-EE55-18AB-4A49-EDB76782D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904762" cy="6858000"/>
          </a:xfrm>
          <a:prstGeom prst="rect">
            <a:avLst/>
          </a:prstGeom>
        </p:spPr>
      </p:pic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DD55E32A-DCEB-54FE-BA0B-22D2632FF5E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511213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4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2B80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EFD02166-A8BA-3D59-C267-13EE5E009FC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994347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148577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8CAB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94F1C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8412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8CAB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447792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E94F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658948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2801527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3889A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4934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151514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E3889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44731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7DB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801364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CCDE5F1-C86B-9B9B-9BA3-32FC90F5D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191125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7533D16F-31F9-3AC6-E84B-0A8D5F7E5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33215653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7DB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  <a:alpha val="30196"/>
            </a:scheme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84DFEA6-3531-3328-1808-A377C909F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000" y="2972571"/>
            <a:ext cx="7068063" cy="9576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57621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7DB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808510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698402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5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7030A0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993615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5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7030A0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7030A0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3572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7030A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353012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.5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ADEA45C1-6BEF-C922-DE7A-9E5B7089144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565364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1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2520651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E7AD23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E7AD23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930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E7AD23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982166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A1D39A0C-447E-1B49-F6C6-2E65C6A762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40000" cy="5178880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A5D995F4-9279-DB5B-A4AB-2DDB7C838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5838" y="2084438"/>
            <a:ext cx="8010225" cy="1344561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FFFFFF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1. Intercalaire</a:t>
            </a:r>
          </a:p>
        </p:txBody>
      </p:sp>
    </p:spTree>
    <p:extLst>
      <p:ext uri="{BB962C8B-B14F-4D97-AF65-F5344CB8AC3E}">
        <p14:creationId xmlns:p14="http://schemas.microsoft.com/office/powerpoint/2010/main" val="2609170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6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E7A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4D6A6B83-6F78-C3E7-E3A8-3EEF2134A3F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323877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FE7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628429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FE782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76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78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598882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7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FFE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873C998B-77D0-74AC-EE95-E48ADC4E407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905891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1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4894"/>
          </a:xfrm>
          <a:prstGeom prst="rect">
            <a:avLst/>
          </a:pr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704822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8B02DF2-42FF-6039-5D8F-B54279F457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21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58588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2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069744B6-1661-0715-D10C-925C1AC5E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000" y="2817813"/>
            <a:ext cx="7068063" cy="957262"/>
          </a:xfrm>
        </p:spPr>
        <p:txBody>
          <a:bodyPr anchor="b"/>
          <a:lstStyle>
            <a:lvl1pPr marL="0" indent="0">
              <a:buFontTx/>
              <a:buNone/>
              <a:defRPr sz="30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/>
            <a:r>
              <a:rPr lang="fr-FR"/>
              <a:t>Intercalair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8938B86-2EFA-6D5B-DBB8-0DBECE7D3CCF}"/>
              </a:ext>
            </a:extLst>
          </p:cNvPr>
          <p:cNvSpPr/>
          <p:nvPr/>
        </p:nvSpPr>
        <p:spPr>
          <a:xfrm>
            <a:off x="4705200" y="3956768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blanc, Graphique, conception&#10;&#10;Description générée automatiquement">
            <a:extLst>
              <a:ext uri="{FF2B5EF4-FFF2-40B4-BE49-F238E27FC236}">
                <a16:creationId xmlns:a16="http://schemas.microsoft.com/office/drawing/2014/main" id="{345F7CD8-999D-A8DD-03A9-38C64E19F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96190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C876E62-20DF-FADA-A1FD-F6C8E972CD65}"/>
              </a:ext>
            </a:extLst>
          </p:cNvPr>
          <p:cNvSpPr/>
          <p:nvPr userDrawn="1"/>
        </p:nvSpPr>
        <p:spPr>
          <a:xfrm>
            <a:off x="2295525" y="0"/>
            <a:ext cx="1656000" cy="277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E1EC9339-E3C7-0D52-AC3C-F4ADA47AC3D4}"/>
              </a:ext>
            </a:extLst>
          </p:cNvPr>
          <p:cNvSpPr/>
          <p:nvPr userDrawn="1"/>
        </p:nvSpPr>
        <p:spPr>
          <a:xfrm>
            <a:off x="-17445" y="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B106AD-A724-6A23-7F88-E7F8A7B78509}"/>
              </a:ext>
            </a:extLst>
          </p:cNvPr>
          <p:cNvSpPr/>
          <p:nvPr userDrawn="1"/>
        </p:nvSpPr>
        <p:spPr>
          <a:xfrm>
            <a:off x="2295525" y="-1"/>
            <a:ext cx="1656000" cy="2772000"/>
          </a:xfrm>
          <a:prstGeom prst="rect">
            <a:avLst/>
          </a:prstGeom>
          <a:solidFill>
            <a:srgbClr val="FFEE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C39F33E1-10CE-9227-55F5-50A2AC9A6A27}"/>
              </a:ext>
            </a:extLst>
          </p:cNvPr>
          <p:cNvSpPr/>
          <p:nvPr userDrawn="1"/>
        </p:nvSpPr>
        <p:spPr>
          <a:xfrm>
            <a:off x="-17445" y="-1"/>
            <a:ext cx="1570020" cy="4455844"/>
          </a:xfrm>
          <a:custGeom>
            <a:avLst/>
            <a:gdLst>
              <a:gd name="connsiteX0" fmla="*/ 0 w 1570020"/>
              <a:gd name="connsiteY0" fmla="*/ 0 h 4455844"/>
              <a:gd name="connsiteX1" fmla="*/ 1570020 w 1570020"/>
              <a:gd name="connsiteY1" fmla="*/ 0 h 4455844"/>
              <a:gd name="connsiteX2" fmla="*/ 1570020 w 1570020"/>
              <a:gd name="connsiteY2" fmla="*/ 793251 h 4455844"/>
              <a:gd name="connsiteX3" fmla="*/ 1520224 w 1570020"/>
              <a:gd name="connsiteY3" fmla="*/ 790574 h 4455844"/>
              <a:gd name="connsiteX4" fmla="*/ 594128 w 1570020"/>
              <a:gd name="connsiteY4" fmla="*/ 1776524 h 4455844"/>
              <a:gd name="connsiteX5" fmla="*/ 1520224 w 1570020"/>
              <a:gd name="connsiteY5" fmla="*/ 2762474 h 4455844"/>
              <a:gd name="connsiteX6" fmla="*/ 1570020 w 1570020"/>
              <a:gd name="connsiteY6" fmla="*/ 2759797 h 4455844"/>
              <a:gd name="connsiteX7" fmla="*/ 1570020 w 1570020"/>
              <a:gd name="connsiteY7" fmla="*/ 4439185 h 4455844"/>
              <a:gd name="connsiteX8" fmla="*/ 1541231 w 1570020"/>
              <a:gd name="connsiteY8" fmla="*/ 4446044 h 4455844"/>
              <a:gd name="connsiteX9" fmla="*/ 62841 w 1570020"/>
              <a:gd name="connsiteY9" fmla="*/ 3978083 h 4455844"/>
              <a:gd name="connsiteX10" fmla="*/ 0 w 1570020"/>
              <a:gd name="connsiteY10" fmla="*/ 3927525 h 4455844"/>
              <a:gd name="connsiteX11" fmla="*/ 0 w 1570020"/>
              <a:gd name="connsiteY11" fmla="*/ 0 h 445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70020" h="4455844">
                <a:moveTo>
                  <a:pt x="0" y="0"/>
                </a:moveTo>
                <a:lnTo>
                  <a:pt x="1570020" y="0"/>
                </a:lnTo>
                <a:lnTo>
                  <a:pt x="1570020" y="793251"/>
                </a:lnTo>
                <a:lnTo>
                  <a:pt x="1520224" y="790574"/>
                </a:lnTo>
                <a:cubicBezTo>
                  <a:pt x="1008755" y="790574"/>
                  <a:pt x="594128" y="1231999"/>
                  <a:pt x="594128" y="1776524"/>
                </a:cubicBezTo>
                <a:cubicBezTo>
                  <a:pt x="594128" y="2321049"/>
                  <a:pt x="1008755" y="2762474"/>
                  <a:pt x="1520224" y="2762474"/>
                </a:cubicBezTo>
                <a:lnTo>
                  <a:pt x="1570020" y="2759797"/>
                </a:lnTo>
                <a:lnTo>
                  <a:pt x="1570020" y="4439185"/>
                </a:lnTo>
                <a:lnTo>
                  <a:pt x="1541231" y="4446044"/>
                </a:lnTo>
                <a:cubicBezTo>
                  <a:pt x="1161984" y="4501869"/>
                  <a:pt x="524245" y="4315650"/>
                  <a:pt x="62841" y="3978083"/>
                </a:cubicBezTo>
                <a:lnTo>
                  <a:pt x="0" y="3927525"/>
                </a:lnTo>
                <a:lnTo>
                  <a:pt x="0" y="0"/>
                </a:lnTo>
                <a:close/>
              </a:path>
            </a:pathLst>
          </a:custGeom>
          <a:solidFill>
            <a:srgbClr val="FFC782">
              <a:alpha val="30196"/>
            </a:srgbClr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3379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1.3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F24A6DE9-6550-199F-370E-D97997EA6BD4}"/>
              </a:ext>
            </a:extLst>
          </p:cNvPr>
          <p:cNvSpPr/>
          <p:nvPr userDrawn="1"/>
        </p:nvSpPr>
        <p:spPr>
          <a:xfrm>
            <a:off x="-10529" y="0"/>
            <a:ext cx="1965717" cy="1423289"/>
          </a:xfrm>
          <a:custGeom>
            <a:avLst/>
            <a:gdLst>
              <a:gd name="connsiteX0" fmla="*/ 0 w 1965717"/>
              <a:gd name="connsiteY0" fmla="*/ 0 h 1422545"/>
              <a:gd name="connsiteX1" fmla="*/ 1965717 w 1965717"/>
              <a:gd name="connsiteY1" fmla="*/ 0 h 1422545"/>
              <a:gd name="connsiteX2" fmla="*/ 1965717 w 1965717"/>
              <a:gd name="connsiteY2" fmla="*/ 1417860 h 1422545"/>
              <a:gd name="connsiteX3" fmla="*/ 117783 w 1965717"/>
              <a:gd name="connsiteY3" fmla="*/ 783267 h 1422545"/>
              <a:gd name="connsiteX4" fmla="*/ 0 w 1965717"/>
              <a:gd name="connsiteY4" fmla="*/ 679830 h 1422545"/>
              <a:gd name="connsiteX5" fmla="*/ 0 w 1965717"/>
              <a:gd name="connsiteY5" fmla="*/ 0 h 1422545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0 w 1965717"/>
              <a:gd name="connsiteY4" fmla="*/ 679830 h 1423289"/>
              <a:gd name="connsiteX5" fmla="*/ 0 w 1965717"/>
              <a:gd name="connsiteY5" fmla="*/ 0 h 1423289"/>
              <a:gd name="connsiteX0" fmla="*/ 0 w 1965717"/>
              <a:gd name="connsiteY0" fmla="*/ 0 h 1423289"/>
              <a:gd name="connsiteX1" fmla="*/ 1965717 w 1965717"/>
              <a:gd name="connsiteY1" fmla="*/ 0 h 1423289"/>
              <a:gd name="connsiteX2" fmla="*/ 1965717 w 1965717"/>
              <a:gd name="connsiteY2" fmla="*/ 1417860 h 1423289"/>
              <a:gd name="connsiteX3" fmla="*/ 136833 w 1965717"/>
              <a:gd name="connsiteY3" fmla="*/ 821367 h 1423289"/>
              <a:gd name="connsiteX4" fmla="*/ 9525 w 1965717"/>
              <a:gd name="connsiteY4" fmla="*/ 708405 h 1423289"/>
              <a:gd name="connsiteX5" fmla="*/ 0 w 1965717"/>
              <a:gd name="connsiteY5" fmla="*/ 0 h 142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5717" h="1423289">
                <a:moveTo>
                  <a:pt x="0" y="0"/>
                </a:moveTo>
                <a:lnTo>
                  <a:pt x="1965717" y="0"/>
                </a:lnTo>
                <a:lnTo>
                  <a:pt x="1965717" y="1417860"/>
                </a:lnTo>
                <a:cubicBezTo>
                  <a:pt x="1480918" y="1458369"/>
                  <a:pt x="698522" y="1273432"/>
                  <a:pt x="136833" y="821367"/>
                </a:cubicBezTo>
                <a:lnTo>
                  <a:pt x="9525" y="708405"/>
                </a:lnTo>
                <a:lnTo>
                  <a:pt x="0" y="0"/>
                </a:lnTo>
                <a:close/>
              </a:path>
            </a:pathLst>
          </a:custGeom>
          <a:solidFill>
            <a:srgbClr val="FFEE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FE98F487-7E1D-478B-059F-22F05AB696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74879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8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FFC7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03D46087-16FB-D36B-F188-CFC14EA12ED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79665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9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4FDEA-F7FD-286F-6BC8-8ED0CB7C5888}"/>
              </a:ext>
            </a:extLst>
          </p:cNvPr>
          <p:cNvSpPr/>
          <p:nvPr/>
        </p:nvSpPr>
        <p:spPr>
          <a:xfrm>
            <a:off x="0" y="0"/>
            <a:ext cx="3963600" cy="6886800"/>
          </a:xfrm>
          <a:prstGeom prst="rect">
            <a:avLst/>
          </a:prstGeom>
          <a:solidFill>
            <a:srgbClr val="091F4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0E48C35-E43E-46F7-0A49-12274287D6F6}"/>
              </a:ext>
            </a:extLst>
          </p:cNvPr>
          <p:cNvSpPr/>
          <p:nvPr/>
        </p:nvSpPr>
        <p:spPr>
          <a:xfrm>
            <a:off x="4381200" y="865736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exte 5">
            <a:extLst>
              <a:ext uri="{FF2B5EF4-FFF2-40B4-BE49-F238E27FC236}">
                <a16:creationId xmlns:a16="http://schemas.microsoft.com/office/drawing/2014/main" id="{3E508250-3500-2E15-A54D-FE5DA1C5C5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4000" y="-1"/>
            <a:ext cx="7392353" cy="771721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6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2" name="Espace réservé du pied de page 3">
            <a:extLst>
              <a:ext uri="{FF2B5EF4-FFF2-40B4-BE49-F238E27FC236}">
                <a16:creationId xmlns:a16="http://schemas.microsoft.com/office/drawing/2014/main" id="{29D1D650-023E-C939-A350-0D3CFA5C75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801443" y="6356350"/>
            <a:ext cx="5401877" cy="365125"/>
          </a:xfrm>
        </p:spPr>
        <p:txBody>
          <a:bodyPr/>
          <a:lstStyle>
            <a:lvl1pPr algn="r">
              <a:defRPr sz="800">
                <a:solidFill>
                  <a:srgbClr val="2A2F3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fr-FR"/>
              <a:t>PI</a:t>
            </a:r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F9DF95D3-E04D-0383-D1D9-F8AEDFFAD0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84000" y="1480270"/>
            <a:ext cx="3528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D9D64BA2-FB42-CBCD-D178-3156549D92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9238" y="1480270"/>
            <a:ext cx="3528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7" name="Espace réservé du texte 16">
            <a:extLst>
              <a:ext uri="{FF2B5EF4-FFF2-40B4-BE49-F238E27FC236}">
                <a16:creationId xmlns:a16="http://schemas.microsoft.com/office/drawing/2014/main" id="{D179343D-5C6D-A274-B09A-7D02BA83C4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84000" y="1949265"/>
            <a:ext cx="3528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8" name="Espace réservé du texte 16">
            <a:extLst>
              <a:ext uri="{FF2B5EF4-FFF2-40B4-BE49-F238E27FC236}">
                <a16:creationId xmlns:a16="http://schemas.microsoft.com/office/drawing/2014/main" id="{1A39020A-9787-AF2B-E1E2-34069771CD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49175" y="1949265"/>
            <a:ext cx="3528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4E8CECA0-AB4E-40DE-79CA-12BF43F4B0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715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.4_3 Contenu de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5E4150A3-A933-8DBE-7B26-F1468155A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D94DB33-3B12-FD2E-AB33-21A52726E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0" y="1521730"/>
            <a:ext cx="450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0B51D0DA-3F39-9A10-49A0-0902B6A87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76125" y="1521730"/>
            <a:ext cx="450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9E88A634-4038-C593-CC6F-6A4A1D7FF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68000" y="1990725"/>
            <a:ext cx="450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9D8EF6AD-38CD-E2D8-AFD7-DBF8889EE3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6062" y="1990725"/>
            <a:ext cx="450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3" name="Image 2" descr="Une image contenant noir&#10;&#10;Description générée automatiquement">
            <a:extLst>
              <a:ext uri="{FF2B5EF4-FFF2-40B4-BE49-F238E27FC236}">
                <a16:creationId xmlns:a16="http://schemas.microsoft.com/office/drawing/2014/main" id="{BEA5375E-D9E8-3909-AF3E-98147A3AC85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535E8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42857" cy="1428571"/>
          </a:xfrm>
          <a:prstGeom prst="rect">
            <a:avLst/>
          </a:prstGeom>
        </p:spPr>
      </p:pic>
      <p:sp>
        <p:nvSpPr>
          <p:cNvPr id="2" name="Espace réservé du numéro de diapositive 4">
            <a:extLst>
              <a:ext uri="{FF2B5EF4-FFF2-40B4-BE49-F238E27FC236}">
                <a16:creationId xmlns:a16="http://schemas.microsoft.com/office/drawing/2014/main" id="{52AE2A09-434A-780F-9AE4-54A839B28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4076" y="6356350"/>
            <a:ext cx="381986" cy="365125"/>
          </a:xfrm>
        </p:spPr>
        <p:txBody>
          <a:bodyPr/>
          <a:lstStyle/>
          <a:p>
            <a:fld id="{05787BFD-843A-4602-B314-707DEED37BF7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7D6F04DE-7A1B-7C78-542E-4758C16CF3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127111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141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.8_3 Contenu d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8B293E7-A0C5-2B9E-2CFE-791DCA68CC16}"/>
              </a:ext>
            </a:extLst>
          </p:cNvPr>
          <p:cNvSpPr/>
          <p:nvPr/>
        </p:nvSpPr>
        <p:spPr>
          <a:xfrm>
            <a:off x="924864" y="822385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9204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8B20A30B-500A-8303-5379-53AD220BAA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36500"/>
            <a:ext cx="10837862" cy="661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876D6A5-6210-BD49-54F7-1553096E4A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480270"/>
            <a:ext cx="5040000" cy="365125"/>
          </a:xfrm>
        </p:spPr>
        <p:txBody>
          <a:bodyPr/>
          <a:lstStyle>
            <a:lvl1pPr marL="0" indent="0">
              <a:buNone/>
              <a:defRPr/>
            </a:lvl1pPr>
            <a:lvl2pPr marL="3810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381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s titre</a:t>
            </a:r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153C5F26-20D1-BB2E-21F0-D990CC6AC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9398" y="1480270"/>
            <a:ext cx="5040000" cy="36858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FontTx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1"/>
            <a:r>
              <a:rPr lang="fr-FR"/>
              <a:t>Sous titr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08154D63-D0A6-6CF6-9E5A-C5C1789C5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5040000" cy="42980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FBBF22BE-A8F8-53E9-C646-09534D87E0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39335" y="1949265"/>
            <a:ext cx="5040000" cy="4318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03D46087-16FB-D36B-F188-CFC14EA12ED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69280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 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322AD059-DEBB-E606-AFFC-697130B3E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03D46087-16FB-D36B-F188-CFC14EA12ED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201453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  <p15:guide id="3" pos="529">
          <p15:clr>
            <a:srgbClr val="FBAE40"/>
          </p15:clr>
        </p15:guide>
        <p15:guide id="4" pos="57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0 Contenu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75F96DF-8296-F512-C66F-277362627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808767"/>
          </a:xfrm>
        </p:spPr>
        <p:txBody>
          <a:bodyPr>
            <a:normAutofit/>
          </a:bodyPr>
          <a:lstStyle>
            <a:lvl1pPr>
              <a:defRPr sz="2600">
                <a:solidFill>
                  <a:srgbClr val="091F4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27D4E38-5226-704F-C140-3D7E1EF06E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229276"/>
            <a:ext cx="10837863" cy="1893351"/>
          </a:xfrm>
        </p:spPr>
        <p:txBody>
          <a:bodyPr numCol="2" spcCol="360000"/>
          <a:lstStyle>
            <a:lvl1pPr>
              <a:defRPr sz="220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  <a:lvl2pPr>
              <a:defRPr sz="180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2pPr>
            <a:lvl3pPr>
              <a:defRPr sz="1600">
                <a:solidFill>
                  <a:srgbClr val="00359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20E69BDA-6DD0-31D2-A358-8E1D67502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texte 16">
            <a:extLst>
              <a:ext uri="{FF2B5EF4-FFF2-40B4-BE49-F238E27FC236}">
                <a16:creationId xmlns:a16="http://schemas.microsoft.com/office/drawing/2014/main" id="{83E1BDA2-A2D0-9BFE-C04C-A7911120A3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98" y="3122628"/>
            <a:ext cx="10837861" cy="31860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D2957DFB-6570-CA74-0602-3810D408407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</p:spTree>
    <p:extLst>
      <p:ext uri="{BB962C8B-B14F-4D97-AF65-F5344CB8AC3E}">
        <p14:creationId xmlns:p14="http://schemas.microsoft.com/office/powerpoint/2010/main" val="393327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11 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338C1019-0C95-753D-D3DE-04AB35BA6A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8599" y="2084439"/>
            <a:ext cx="7068063" cy="1219200"/>
          </a:xfrm>
        </p:spPr>
        <p:txBody>
          <a:bodyPr anchor="b">
            <a:normAutofit/>
          </a:bodyPr>
          <a:lstStyle>
            <a:lvl1pPr>
              <a:defRPr sz="3000" b="0">
                <a:solidFill>
                  <a:srgbClr val="2A2F3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r>
              <a:rPr lang="fr-FR"/>
              <a:t>Merci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ECD53E4-69B6-170A-8756-620A34623E05}"/>
              </a:ext>
            </a:extLst>
          </p:cNvPr>
          <p:cNvSpPr/>
          <p:nvPr/>
        </p:nvSpPr>
        <p:spPr>
          <a:xfrm>
            <a:off x="1885422" y="3482362"/>
            <a:ext cx="1116000" cy="72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A666340-A18C-A8BA-E0F0-1413C3A60FAD}"/>
              </a:ext>
            </a:extLst>
          </p:cNvPr>
          <p:cNvSpPr/>
          <p:nvPr/>
        </p:nvSpPr>
        <p:spPr>
          <a:xfrm>
            <a:off x="1788600" y="765368"/>
            <a:ext cx="4724048" cy="360000"/>
          </a:xfrm>
          <a:prstGeom prst="roundRect">
            <a:avLst>
              <a:gd name="adj" fmla="val 44144"/>
            </a:avLst>
          </a:prstGeom>
          <a:solidFill>
            <a:srgbClr val="0093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20">
            <a:extLst>
              <a:ext uri="{FF2B5EF4-FFF2-40B4-BE49-F238E27FC236}">
                <a16:creationId xmlns:a16="http://schemas.microsoft.com/office/drawing/2014/main" id="{559467EF-79DF-1FF6-1383-2A8D22C9E9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06600" y="822786"/>
            <a:ext cx="4630315" cy="4095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fr-FR"/>
              <a:t>DEPARTEMENT / POLE</a:t>
            </a:r>
          </a:p>
        </p:txBody>
      </p:sp>
      <p:sp>
        <p:nvSpPr>
          <p:cNvPr id="5" name="Espace réservé du texte 18">
            <a:extLst>
              <a:ext uri="{FF2B5EF4-FFF2-40B4-BE49-F238E27FC236}">
                <a16:creationId xmlns:a16="http://schemas.microsoft.com/office/drawing/2014/main" id="{899A1121-80BD-8B9D-2671-252F6B744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88600" y="3733085"/>
            <a:ext cx="4724048" cy="384175"/>
          </a:xfrm>
        </p:spPr>
        <p:txBody>
          <a:bodyPr/>
          <a:lstStyle>
            <a:lvl1pPr marL="0" indent="0">
              <a:buNone/>
              <a:defRPr sz="1400" cap="all" baseline="0">
                <a:solidFill>
                  <a:srgbClr val="2A2F3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fr-FR"/>
              <a:t>VERSION / DATE</a:t>
            </a:r>
          </a:p>
        </p:txBody>
      </p:sp>
      <p:pic>
        <p:nvPicPr>
          <p:cNvPr id="11" name="Image 10" descr="Une image contenant Bleu électrique, bleu, symbole, Graphique&#10;&#10;Description générée automatiquement">
            <a:extLst>
              <a:ext uri="{FF2B5EF4-FFF2-40B4-BE49-F238E27FC236}">
                <a16:creationId xmlns:a16="http://schemas.microsoft.com/office/drawing/2014/main" id="{652C3097-6A33-131D-D92A-F59ED530E6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095" y="0"/>
            <a:ext cx="3961905" cy="6884894"/>
          </a:xfrm>
          <a:prstGeom prst="rect">
            <a:avLst/>
          </a:prstGeom>
        </p:spPr>
      </p:pic>
      <p:pic>
        <p:nvPicPr>
          <p:cNvPr id="13" name="Image 12" descr="Une image contenant texte, Police, capture d’écran, affiche&#10;&#10;Description générée automatiquement">
            <a:extLst>
              <a:ext uri="{FF2B5EF4-FFF2-40B4-BE49-F238E27FC236}">
                <a16:creationId xmlns:a16="http://schemas.microsoft.com/office/drawing/2014/main" id="{FD080B4D-F3AB-1C12-5177-C34CAC13DE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79" y="5670358"/>
            <a:ext cx="621792" cy="87172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21F4D70-1D4A-2670-574B-08533A713F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0078" b="-654"/>
          <a:stretch/>
        </p:blipFill>
        <p:spPr>
          <a:xfrm>
            <a:off x="9589107" y="6072289"/>
            <a:ext cx="488343" cy="469797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676C1AB7-B7A8-C4C8-8FDD-9EDDC77FD307}"/>
              </a:ext>
            </a:extLst>
          </p:cNvPr>
          <p:cNvSpPr txBox="1"/>
          <p:nvPr userDrawn="1"/>
        </p:nvSpPr>
        <p:spPr>
          <a:xfrm>
            <a:off x="10144125" y="6115509"/>
            <a:ext cx="1571625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fr-FR" sz="2800" b="0" spc="100" baseline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arsem</a:t>
            </a:r>
          </a:p>
        </p:txBody>
      </p:sp>
    </p:spTree>
    <p:extLst>
      <p:ext uri="{BB962C8B-B14F-4D97-AF65-F5344CB8AC3E}">
        <p14:creationId xmlns:p14="http://schemas.microsoft.com/office/powerpoint/2010/main" val="1604831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  <p15:guide id="2" pos="7378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2">
            <a:extLst>
              <a:ext uri="{FF2B5EF4-FFF2-40B4-BE49-F238E27FC236}">
                <a16:creationId xmlns:a16="http://schemas.microsoft.com/office/drawing/2014/main" id="{06D9A928-17EC-2E7C-38A4-B3BA149301AB}"/>
              </a:ext>
            </a:extLst>
          </p:cNvPr>
          <p:cNvSpPr/>
          <p:nvPr userDrawn="1"/>
        </p:nvSpPr>
        <p:spPr>
          <a:xfrm>
            <a:off x="0" y="0"/>
            <a:ext cx="2381250" cy="6858000"/>
          </a:xfrm>
          <a:prstGeom prst="rect">
            <a:avLst/>
          </a:prstGeom>
          <a:solidFill>
            <a:srgbClr val="AB6EB4"/>
          </a:solidFill>
        </p:spPr>
        <p:txBody>
          <a:bodyPr/>
          <a:lstStyle/>
          <a:p>
            <a:endParaRPr lang="fr-FR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B057069-1980-7961-7A47-988F222880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01" b="99010" l="1905" r="94286">
                        <a14:foregroundMark x1="33905" y1="42327" x2="31429" y2="98515"/>
                        <a14:foregroundMark x1="4571" y1="73762" x2="8952" y2="99010"/>
                        <a14:foregroundMark x1="64190" y1="46040" x2="89143" y2="34653"/>
                        <a14:foregroundMark x1="2095" y1="80198" x2="2095" y2="80198"/>
                        <a14:foregroundMark x1="8190" y1="75990" x2="12571" y2="76485"/>
                        <a14:foregroundMark x1="76952" y1="47772" x2="88762" y2="67079"/>
                        <a14:foregroundMark x1="94286" y1="66584" x2="94286" y2="66584"/>
                        <a14:foregroundMark x1="74286" y1="16832" x2="73333" y2="13614"/>
                        <a14:foregroundMark x1="76952" y1="28218" x2="78286" y2="35149"/>
                        <a14:foregroundMark x1="69714" y1="69554" x2="74667" y2="70050"/>
                        <a14:foregroundMark x1="35619" y1="38861" x2="30667" y2="37624"/>
                        <a14:backgroundMark x1="48381" y1="62376" x2="56571" y2="62376"/>
                        <a14:backgroundMark x1="16571" y1="83168" x2="20190" y2="811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5" y="5019349"/>
            <a:ext cx="2364580" cy="181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A5BF47E-498B-60BD-5AF1-EA9F710CDB55}"/>
              </a:ext>
            </a:extLst>
          </p:cNvPr>
          <p:cNvSpPr txBox="1"/>
          <p:nvPr userDrawn="1"/>
        </p:nvSpPr>
        <p:spPr>
          <a:xfrm>
            <a:off x="1123950" y="6534150"/>
            <a:ext cx="1247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8924E4F-CBF1-49F2-8B10-C8724D82D26F}" type="slidenum">
              <a:rPr lang="fr-FR" sz="1400" smtClean="0">
                <a:solidFill>
                  <a:schemeClr val="bg1"/>
                </a:solidFill>
              </a:rPr>
              <a:pPr algn="ctr"/>
              <a:t>‹N°›</a:t>
            </a:fld>
            <a:endParaRPr lang="fr-FR" sz="1400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B0034A3-D674-F5D6-2908-8D2BD937358D}"/>
              </a:ext>
            </a:extLst>
          </p:cNvPr>
          <p:cNvSpPr txBox="1"/>
          <p:nvPr userDrawn="1"/>
        </p:nvSpPr>
        <p:spPr>
          <a:xfrm>
            <a:off x="184547" y="552450"/>
            <a:ext cx="20097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>
                <a:solidFill>
                  <a:schemeClr val="bg1"/>
                </a:solidFill>
              </a:rPr>
              <a:t>ALS – ÉTUDIANTS</a:t>
            </a:r>
          </a:p>
          <a:p>
            <a:pPr algn="ctr"/>
            <a:endParaRPr lang="fr-FR">
              <a:solidFill>
                <a:schemeClr val="bg1"/>
              </a:solidFill>
            </a:endParaRPr>
          </a:p>
          <a:p>
            <a:pPr algn="ctr"/>
            <a:r>
              <a:rPr lang="fr-FR" sz="1600">
                <a:solidFill>
                  <a:schemeClr val="bg1"/>
                </a:solidFill>
              </a:rPr>
              <a:t>Gestion des droits pendant les grandes vacances scolaires</a:t>
            </a:r>
          </a:p>
        </p:txBody>
      </p:sp>
    </p:spTree>
    <p:extLst>
      <p:ext uri="{BB962C8B-B14F-4D97-AF65-F5344CB8AC3E}">
        <p14:creationId xmlns:p14="http://schemas.microsoft.com/office/powerpoint/2010/main" val="343816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94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8" Type="http://schemas.openxmlformats.org/officeDocument/2006/relationships/slideLayout" Target="../slideLayouts/slideLayout52.xml"/><Relationship Id="rId5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EAABCF-A275-DD93-5D59-2121DBD40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0BCB24-7A8A-9D45-D32D-8606B93D32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68000" y="1825624"/>
            <a:ext cx="9408063" cy="4471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CAEFF1C-19B9-CC65-F0AB-5275659C5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03200" y="6356350"/>
            <a:ext cx="540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46D77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C3CA651-AB15-5222-C627-2C663C1D5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38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8" r:id="rId2"/>
    <p:sldLayoutId id="2147483743" r:id="rId3"/>
    <p:sldLayoutId id="2147483693" r:id="rId4"/>
    <p:sldLayoutId id="2147483756" r:id="rId5"/>
    <p:sldLayoutId id="2147483733" r:id="rId6"/>
    <p:sldLayoutId id="2147483823" r:id="rId7"/>
    <p:sldLayoutId id="2147483824" r:id="rId8"/>
    <p:sldLayoutId id="2147483825" r:id="rId9"/>
    <p:sldLayoutId id="2147483826" r:id="rId10"/>
    <p:sldLayoutId id="2147483832" r:id="rId11"/>
    <p:sldLayoutId id="2147483833" r:id="rId12"/>
    <p:sldLayoutId id="2147483834" r:id="rId13"/>
    <p:sldLayoutId id="2147483835" r:id="rId14"/>
    <p:sldLayoutId id="2147483744" r:id="rId15"/>
    <p:sldLayoutId id="2147483750" r:id="rId16"/>
    <p:sldLayoutId id="2147483737" r:id="rId17"/>
    <p:sldLayoutId id="2147483762" r:id="rId18"/>
    <p:sldLayoutId id="2147483745" r:id="rId19"/>
    <p:sldLayoutId id="2147483751" r:id="rId20"/>
    <p:sldLayoutId id="2147483757" r:id="rId21"/>
    <p:sldLayoutId id="2147483763" r:id="rId22"/>
    <p:sldLayoutId id="2147483746" r:id="rId23"/>
    <p:sldLayoutId id="2147483752" r:id="rId24"/>
    <p:sldLayoutId id="2147483758" r:id="rId25"/>
    <p:sldLayoutId id="2147483764" r:id="rId26"/>
    <p:sldLayoutId id="2147483747" r:id="rId27"/>
    <p:sldLayoutId id="2147483753" r:id="rId28"/>
    <p:sldLayoutId id="2147483759" r:id="rId29"/>
    <p:sldLayoutId id="2147483765" r:id="rId30"/>
    <p:sldLayoutId id="2147483748" r:id="rId31"/>
    <p:sldLayoutId id="2147483754" r:id="rId32"/>
    <p:sldLayoutId id="2147483760" r:id="rId33"/>
    <p:sldLayoutId id="2147483766" r:id="rId34"/>
    <p:sldLayoutId id="2147483749" r:id="rId35"/>
    <p:sldLayoutId id="2147483755" r:id="rId36"/>
    <p:sldLayoutId id="2147483761" r:id="rId37"/>
    <p:sldLayoutId id="2147483767" r:id="rId38"/>
    <p:sldLayoutId id="2147483739" r:id="rId39"/>
    <p:sldLayoutId id="2147483783" r:id="rId40"/>
    <p:sldLayoutId id="2147483791" r:id="rId41"/>
    <p:sldLayoutId id="2147483809" r:id="rId42"/>
    <p:sldLayoutId id="2147483810" r:id="rId43"/>
    <p:sldLayoutId id="2147483827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rgbClr val="09204E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9204E"/>
          </a:solidFill>
          <a:latin typeface="Roboto Black" panose="02000000000000000000" pitchFamily="2" charset="0"/>
          <a:ea typeface="Roboto Black" panose="02000000000000000000" pitchFamily="2" charset="0"/>
          <a:cs typeface="Roboto Black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1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459">
          <p15:clr>
            <a:srgbClr val="F26B43"/>
          </p15:clr>
        </p15:guide>
        <p15:guide id="4" pos="14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EAABCF-A275-DD93-5D59-2121DBD40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0" y="241201"/>
            <a:ext cx="9408062" cy="6611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0BCB24-7A8A-9D45-D32D-8606B93D32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68000" y="1825624"/>
            <a:ext cx="9408063" cy="4471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CAEFF1C-19B9-CC65-F0AB-5275659C5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03200" y="6356350"/>
            <a:ext cx="540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46D77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7AC5478D-80D2-27EE-E47E-A0E40C3DC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4076" y="6356350"/>
            <a:ext cx="3819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01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fld id="{05787BFD-843A-4602-B314-707DEED37BF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977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21" r:id="rId2"/>
    <p:sldLayoutId id="2147483777" r:id="rId3"/>
    <p:sldLayoutId id="2147483811" r:id="rId4"/>
    <p:sldLayoutId id="2147483784" r:id="rId5"/>
    <p:sldLayoutId id="2147483828" r:id="rId6"/>
    <p:sldLayoutId id="2147483829" r:id="rId7"/>
    <p:sldLayoutId id="2147483830" r:id="rId8"/>
    <p:sldLayoutId id="2147483768" r:id="rId9"/>
    <p:sldLayoutId id="2147483734" r:id="rId10"/>
    <p:sldLayoutId id="2147483812" r:id="rId11"/>
    <p:sldLayoutId id="2147483789" r:id="rId12"/>
    <p:sldLayoutId id="2147483769" r:id="rId13"/>
    <p:sldLayoutId id="2147483778" r:id="rId14"/>
    <p:sldLayoutId id="2147483813" r:id="rId15"/>
    <p:sldLayoutId id="2147483788" r:id="rId16"/>
    <p:sldLayoutId id="2147483770" r:id="rId17"/>
    <p:sldLayoutId id="2147483779" r:id="rId18"/>
    <p:sldLayoutId id="2147483814" r:id="rId19"/>
    <p:sldLayoutId id="2147483787" r:id="rId20"/>
    <p:sldLayoutId id="2147483792" r:id="rId21"/>
    <p:sldLayoutId id="2147483796" r:id="rId22"/>
    <p:sldLayoutId id="2147483815" r:id="rId23"/>
    <p:sldLayoutId id="2147483816" r:id="rId24"/>
    <p:sldLayoutId id="2147483795" r:id="rId25"/>
    <p:sldLayoutId id="2147483793" r:id="rId26"/>
    <p:sldLayoutId id="2147483817" r:id="rId27"/>
    <p:sldLayoutId id="2147483794" r:id="rId28"/>
    <p:sldLayoutId id="2147483797" r:id="rId29"/>
    <p:sldLayoutId id="2147483798" r:id="rId30"/>
    <p:sldLayoutId id="2147483818" r:id="rId31"/>
    <p:sldLayoutId id="2147483799" r:id="rId32"/>
    <p:sldLayoutId id="2147483771" r:id="rId33"/>
    <p:sldLayoutId id="2147483780" r:id="rId34"/>
    <p:sldLayoutId id="2147483819" r:id="rId35"/>
    <p:sldLayoutId id="2147483786" r:id="rId36"/>
    <p:sldLayoutId id="2147483772" r:id="rId37"/>
    <p:sldLayoutId id="2147483781" r:id="rId38"/>
    <p:sldLayoutId id="2147483820" r:id="rId39"/>
    <p:sldLayoutId id="2147483785" r:id="rId40"/>
    <p:sldLayoutId id="2147483773" r:id="rId41"/>
    <p:sldLayoutId id="2147483782" r:id="rId42"/>
    <p:sldLayoutId id="2147483821" r:id="rId43"/>
    <p:sldLayoutId id="2147483723" r:id="rId44"/>
    <p:sldLayoutId id="2147483742" r:id="rId45"/>
    <p:sldLayoutId id="2147483836" r:id="rId46"/>
    <p:sldLayoutId id="2147483837" r:id="rId47"/>
    <p:sldLayoutId id="2147483725" r:id="rId48"/>
    <p:sldLayoutId id="2147483790" r:id="rId49"/>
    <p:sldLayoutId id="2147483831" r:id="rId5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3593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Black" panose="02000000000000000000" pitchFamily="2" charset="0"/>
          <a:ea typeface="Roboto Black" panose="02000000000000000000" pitchFamily="2" charset="0"/>
          <a:cs typeface="Roboto Black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Roboto Bold" panose="02000000000000000000" pitchFamily="2" charset="0"/>
          <a:ea typeface="Roboto Bold" panose="02000000000000000000" pitchFamily="2" charset="0"/>
          <a:cs typeface="Roboto Bold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459">
          <p15:clr>
            <a:srgbClr val="F26B43"/>
          </p15:clr>
        </p15:guide>
        <p15:guide id="4" pos="14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teams.microsoft.com/dl/launcher/launcher.html?url=/_%23/l/meetup-join/19%3Ameeting_Y2YxNWYyOWUtMmMzNC00Y2MxLTllOTMtNTFiMGFhZTRkMzk3%40thread.v2/0%3Fcontext%3D%257b%2522Tid%2522%253a%252258c09f75-858a-4559-b710-c48500698fd4%2522%252c%2522Oid%2522%253a%2522aeff863d-7628-4fc0-94d2-7dcc615e20e7%2522%252c%2522IsBroadcastMeeting%2522%253atrue%257d%26anon%3Dtrue&amp;type=meetup-join&amp;deeplinkId=278e15bf-c212-4355-b30b-eae5f548f79d&amp;directDl=true&amp;msLaunch=true&amp;enableMobilePage=true&amp;suppressPrompt=true" TargetMode="External"/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f.fr/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5" Type="http://schemas.openxmlformats.org/officeDocument/2006/relationships/slide" Target="slide7.xml"/><Relationship Id="rId4" Type="http://schemas.openxmlformats.org/officeDocument/2006/relationships/slide" Target="slide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6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f37-partenaires.fr/wp-content/uploads/2026/06/ars.png" TargetMode="Externa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ED2A37-1CB0-51A4-B57C-7997ACE4D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9715" y="2032499"/>
            <a:ext cx="6926348" cy="1394133"/>
          </a:xfrm>
        </p:spPr>
        <p:txBody>
          <a:bodyPr>
            <a:normAutofit/>
          </a:bodyPr>
          <a:lstStyle/>
          <a:p>
            <a:r>
              <a:rPr lang="fr-FR" sz="3200" dirty="0">
                <a:latin typeface="Roboto Black"/>
                <a:ea typeface="Roboto Black"/>
                <a:cs typeface="Roboto Black"/>
              </a:rPr>
              <a:t>La Visio </a:t>
            </a:r>
            <a:r>
              <a:rPr lang="fr-FR" sz="3200" dirty="0">
                <a:latin typeface="Dreaming Outloud Script Pro"/>
                <a:ea typeface="Roboto Black"/>
                <a:cs typeface="Dreaming Outloud Script Pro"/>
              </a:rPr>
              <a:t>mensuelle</a:t>
            </a:r>
            <a:br>
              <a:rPr lang="fr-FR" sz="3200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</a:br>
            <a:r>
              <a:rPr lang="fr-FR" sz="3200">
                <a:latin typeface="Roboto Black"/>
                <a:ea typeface="Roboto Black"/>
                <a:cs typeface="Roboto Black"/>
              </a:rPr>
              <a:t>des Partenaires / Flash </a:t>
            </a:r>
            <a:r>
              <a:rPr lang="fr-FR" sz="3200">
                <a:latin typeface="Dreaming Outloud Script Pro"/>
                <a:ea typeface="Roboto Black"/>
                <a:cs typeface="Dreaming Outloud Script Pro"/>
              </a:rPr>
              <a:t>info</a:t>
            </a:r>
            <a:endParaRPr lang="fr-FR" sz="3200" dirty="0">
              <a:latin typeface="Dreaming Outloud Script Pro"/>
              <a:ea typeface="Roboto Black"/>
              <a:cs typeface="Dreaming Outloud Script Pro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4E6946-1FB0-E8F7-0DE0-786AE2ED99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00" y="3703638"/>
            <a:ext cx="3451225" cy="38417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>
                <a:latin typeface="Roboto Bold"/>
                <a:ea typeface="Roboto Bold"/>
                <a:cs typeface="Roboto Bold"/>
              </a:rPr>
              <a:t>Juillet</a:t>
            </a:r>
            <a:r>
              <a:rPr lang="fr-FR" dirty="0">
                <a:latin typeface="Roboto Bold"/>
                <a:ea typeface="Roboto Bold"/>
                <a:cs typeface="Roboto Bold"/>
              </a:rPr>
              <a:t> 2026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AFEAD23-2516-DF98-5924-DCA35062C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53" y="5261703"/>
            <a:ext cx="1019317" cy="140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485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33334-78FB-4D1D-B790-E6A517706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lick Icon Vectores, Iconos, Gráficos y Fondos para Descargar Gratis">
            <a:extLst>
              <a:ext uri="{FF2B5EF4-FFF2-40B4-BE49-F238E27FC236}">
                <a16:creationId xmlns:a16="http://schemas.microsoft.com/office/drawing/2014/main" id="{F6F4D7C9-BA64-29D5-07D8-EAD59BAF3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2076" y="2141061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28">
            <a:extLst>
              <a:ext uri="{FF2B5EF4-FFF2-40B4-BE49-F238E27FC236}">
                <a16:creationId xmlns:a16="http://schemas.microsoft.com/office/drawing/2014/main" id="{629B51A5-0810-A347-9FD5-9E99F37BB11F}"/>
              </a:ext>
            </a:extLst>
          </p:cNvPr>
          <p:cNvSpPr txBox="1"/>
          <p:nvPr/>
        </p:nvSpPr>
        <p:spPr>
          <a:xfrm>
            <a:off x="349024" y="1144076"/>
            <a:ext cx="6698985" cy="47089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fr-FR" sz="1600" b="1" u="sng"/>
              <a:t>Contexte :</a:t>
            </a:r>
            <a:endParaRPr lang="en-US" sz="1600"/>
          </a:p>
          <a:p>
            <a:endParaRPr lang="fr-FR" sz="1600" b="1" u="sng" dirty="0"/>
          </a:p>
          <a:p>
            <a:r>
              <a:rPr lang="fr-FR" sz="1600"/>
              <a:t>Lors de l’ouverture de droit au RSA pour une personne isolée ne percevant pas de pension alimentaire pour son (ses) enfant(s) à charge, un droit automatique à l’Allocation de Soutien Familial (ASF) est ouvert pour 4 mois.</a:t>
            </a:r>
            <a:endParaRPr lang="en-US" sz="1600">
              <a:ea typeface="Roboto"/>
              <a:cs typeface="Roboto"/>
            </a:endParaRPr>
          </a:p>
          <a:p>
            <a:r>
              <a:rPr lang="fr-FR" sz="1600"/>
              <a:t>La poursuite de ce droit est conditionnée à l’envoi d’une demande d’ASF par l’allocataire.</a:t>
            </a:r>
          </a:p>
          <a:p>
            <a:r>
              <a:rPr lang="fr-FR" sz="1600"/>
              <a:t>Actuellement, dans 70% des cas, la demande d’ASF n’est pas renvoyée par l’allocataire.</a:t>
            </a:r>
          </a:p>
          <a:p>
            <a:endParaRPr lang="fr-FR" sz="1600" dirty="0"/>
          </a:p>
          <a:p>
            <a:r>
              <a:rPr lang="fr-FR" sz="1600" b="1" u="sng"/>
              <a:t>Évolutions :</a:t>
            </a:r>
            <a:br>
              <a:rPr lang="fr-FR" sz="1600" dirty="0"/>
            </a:br>
            <a:r>
              <a:rPr lang="fr-FR" sz="1600"/>
              <a:t>Poursuivre la communication auprès des allocataires pour les inciter à demander l’ASF (Allocation de soutien familial) afin de faciliter la fixation de la pension alimentaire, et, dans l’attente d’un jugement, de poursuivre le droit à l’ASF 4 mois.</a:t>
            </a:r>
          </a:p>
          <a:p>
            <a:r>
              <a:rPr lang="fr-FR" sz="1600"/>
              <a:t>A la fin de la demande RSA, d’après la situation constatée, l’allocataire est invité à faire une demande d’ASF.</a:t>
            </a:r>
          </a:p>
          <a:p>
            <a:endParaRPr lang="fr-FR" b="1" dirty="0">
              <a:ea typeface="Roboto"/>
              <a:cs typeface="Roboto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D6DC6EA9-DA7A-4D56-B910-1DD065400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76842"/>
            <a:ext cx="11962717" cy="980483"/>
          </a:xfrm>
        </p:spPr>
        <p:txBody>
          <a:bodyPr>
            <a:normAutofit/>
          </a:bodyPr>
          <a:lstStyle/>
          <a:p>
            <a:r>
              <a:rPr lang="fr-FR" sz="2400" b="1" dirty="0">
                <a:latin typeface="Roboto Black"/>
                <a:ea typeface="Roboto Black"/>
                <a:cs typeface="Roboto Black"/>
              </a:rPr>
              <a:t> Incitation à la demande d’allocation de soutien </a:t>
            </a:r>
            <a:r>
              <a:rPr lang="fr-FR" sz="2400" b="1" dirty="0">
                <a:latin typeface="Roboto"/>
                <a:ea typeface="Roboto"/>
                <a:cs typeface="Roboto"/>
              </a:rPr>
              <a:t>familial en fin de téléprocédure </a:t>
            </a:r>
            <a:br>
              <a:rPr lang="fr-FR" sz="2400" b="1" dirty="0">
                <a:latin typeface="Roboto"/>
                <a:ea typeface="Roboto"/>
                <a:cs typeface="Roboto"/>
              </a:rPr>
            </a:br>
            <a:r>
              <a:rPr lang="fr-FR" sz="2400" b="1" dirty="0">
                <a:latin typeface="Roboto"/>
                <a:ea typeface="Roboto"/>
                <a:cs typeface="Roboto"/>
              </a:rPr>
              <a:t> de demande </a:t>
            </a:r>
            <a:r>
              <a:rPr lang="fr-FR" sz="2400" b="1" dirty="0" err="1">
                <a:latin typeface="Roboto"/>
                <a:ea typeface="Roboto"/>
                <a:cs typeface="Roboto"/>
              </a:rPr>
              <a:t>Rsa</a:t>
            </a:r>
            <a:endParaRPr lang="en-US" sz="24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586E76-03E4-8B31-7DA7-348E76E47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1315" y="1497778"/>
            <a:ext cx="4753426" cy="418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44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lick Icon Vectores, Iconos, Gráficos y Fondos para Descargar Gratis">
            <a:extLst>
              <a:ext uri="{FF2B5EF4-FFF2-40B4-BE49-F238E27FC236}">
                <a16:creationId xmlns:a16="http://schemas.microsoft.com/office/drawing/2014/main" id="{442CBAA4-D015-4395-5F61-B40CCD8EBF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7562" y="5464832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769974-81D7-7B29-4746-52451ECCDFC0}"/>
              </a:ext>
            </a:extLst>
          </p:cNvPr>
          <p:cNvSpPr txBox="1"/>
          <p:nvPr/>
        </p:nvSpPr>
        <p:spPr>
          <a:xfrm>
            <a:off x="488369" y="1393654"/>
            <a:ext cx="873937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fr-FR" dirty="0"/>
              <a:t>Un pop-up précise, pour ces natures de ressources perçues, ce qui est ou non à retenir.	</a:t>
            </a:r>
            <a:endParaRPr lang="fr-FR" dirty="0">
              <a:ea typeface="Roboto"/>
              <a:cs typeface="Roboto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36CE39-B9B0-2BCC-02F1-773CC73DC84D}"/>
              </a:ext>
            </a:extLst>
          </p:cNvPr>
          <p:cNvSpPr txBox="1"/>
          <p:nvPr/>
        </p:nvSpPr>
        <p:spPr>
          <a:xfrm>
            <a:off x="921657" y="127000"/>
            <a:ext cx="10798628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400" b="1" baseline="0">
                <a:solidFill>
                  <a:srgbClr val="003593"/>
                </a:solidFill>
                <a:latin typeface="Roboto"/>
              </a:rPr>
              <a:t>Évolution de la rubrique « Aide et secours financiers » dans la simulation RSA/PPA ainsi que dans la demande RSA/PPA.</a:t>
            </a:r>
            <a:endParaRPr lang="en-US" sz="2400"/>
          </a:p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913028-102B-56BC-0DD4-C1F0FAF34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795635"/>
            <a:ext cx="11052626" cy="4427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011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C2F77F-6863-6AC2-B22D-9B75638DFC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288B3B-76D9-4B0F-78DF-E5AD1CDBBA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738" y="2505670"/>
            <a:ext cx="95853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ARIPA(*) – Mise en place d’un SVI visuel : un parcours unique avec un motif dédié à la pension </a:t>
            </a:r>
            <a:r>
              <a:rPr lang="fr-FR" b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alimentai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478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7FCFE-5CB1-8043-C3B7-641E8E213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67B0114-D568-D705-6BE7-27DAFE2CDC83}"/>
              </a:ext>
            </a:extLst>
          </p:cNvPr>
          <p:cNvSpPr txBox="1"/>
          <p:nvPr/>
        </p:nvSpPr>
        <p:spPr>
          <a:xfrm>
            <a:off x="1052287" y="1084943"/>
            <a:ext cx="9681027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600" b="1" u="sng"/>
              <a:t>Objectifs :</a:t>
            </a:r>
            <a:endParaRPr lang="en-US" sz="1600" b="1">
              <a:ea typeface="Roboto"/>
              <a:cs typeface="Roboto"/>
            </a:endParaRPr>
          </a:p>
          <a:p>
            <a:endParaRPr lang="fr-FR" sz="1600" b="1" u="sng" dirty="0">
              <a:ea typeface="Roboto"/>
              <a:cs typeface="Roboto"/>
            </a:endParaRPr>
          </a:p>
          <a:p>
            <a:r>
              <a:rPr lang="fr-FR" sz="1600" dirty="0"/>
              <a:t>Simplifier la prise d’informations </a:t>
            </a:r>
            <a:r>
              <a:rPr lang="fr-FR" sz="1600" dirty="0" err="1"/>
              <a:t>Aripa</a:t>
            </a:r>
            <a:r>
              <a:rPr lang="fr-FR" sz="1600" dirty="0"/>
              <a:t> pour l’usager sur la page “ Contacter ma Caf par téléphone”.</a:t>
            </a:r>
          </a:p>
          <a:p>
            <a:r>
              <a:rPr lang="fr-FR" sz="1600" dirty="0"/>
              <a:t>Éviter des sollicitations liées à l’</a:t>
            </a:r>
            <a:r>
              <a:rPr lang="fr-FR" sz="1600" dirty="0" err="1"/>
              <a:t>Aripa</a:t>
            </a:r>
            <a:r>
              <a:rPr lang="fr-FR" sz="1600" dirty="0"/>
              <a:t> à tort, sur les lignes téléphoniques non dédiées à ce service.</a:t>
            </a:r>
          </a:p>
          <a:p>
            <a:r>
              <a:rPr lang="fr-FR" sz="1600"/>
              <a:t>Connectés à leur compte depuis l’appli mobile, web mobile : le  nouveau motif  « j’ai une question concernant la pension alimentaire » est désormais proposé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36408C-1A5C-DDBE-FB66-E29C52DC7887}"/>
              </a:ext>
            </a:extLst>
          </p:cNvPr>
          <p:cNvSpPr txBox="1"/>
          <p:nvPr/>
        </p:nvSpPr>
        <p:spPr>
          <a:xfrm>
            <a:off x="261258" y="-10884"/>
            <a:ext cx="1119777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2400" b="1" i="0" u="none" strike="noStrike" baseline="0">
                <a:solidFill>
                  <a:srgbClr val="003593"/>
                </a:solidFill>
                <a:latin typeface="Roboto"/>
              </a:rPr>
              <a:t>ARIPA(*) – Mise en place d’un SVI visuel : un parcours unique avec un motif dédié à la pension alimentaire</a:t>
            </a:r>
            <a:endParaRPr lang="en-US" sz="24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A29B18-26E2-F851-2FD9-5E4C5356B4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57" y="2535381"/>
            <a:ext cx="10892969" cy="408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533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76462A-F4FA-A39A-951D-995F9CA31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8EF0B8D-8C5E-217C-0144-B8CC9A2D95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05995" y="2282540"/>
            <a:ext cx="958532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Webinaire </a:t>
            </a:r>
            <a:r>
              <a:rPr lang="fr-FR" b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intermédiation financière</a:t>
            </a:r>
            <a:endParaRPr lang="fr-FR" b="1" dirty="0">
              <a:solidFill>
                <a:srgbClr val="003593"/>
              </a:solidFill>
              <a:latin typeface="Roboto"/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80659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9ED196-7A2E-1993-B4C1-828F26FF3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809B4E-9892-06FA-77AB-208D0E10184B}"/>
              </a:ext>
            </a:extLst>
          </p:cNvPr>
          <p:cNvSpPr txBox="1"/>
          <p:nvPr/>
        </p:nvSpPr>
        <p:spPr>
          <a:xfrm>
            <a:off x="979135" y="1276967"/>
            <a:ext cx="9681027" cy="4216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ea"/>
                <a:cs typeface="+mn-cs"/>
              </a:rPr>
              <a:t>L'ARIPA </a:t>
            </a:r>
            <a:r>
              <a:rPr lang="fr-FR" sz="1600" b="1" dirty="0">
                <a:solidFill>
                  <a:schemeClr val="tx2"/>
                </a:solidFill>
                <a:latin typeface="Arial Nova Light"/>
              </a:rPr>
              <a:t>propose</a:t>
            </a:r>
            <a:r>
              <a:rPr lang="fr-FR" sz="1600" b="1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 un webinaire  d’une durée de max 30 minutes, ouverte aussi bien aux créanciers, qu’aux débiteurs</a:t>
            </a: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, </a:t>
            </a:r>
            <a:r>
              <a:rPr lang="fr-FR" sz="1600" b="1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qu’aux personnels CAF et partenaires qui ont besoin de comprendre comment fonctionne l’Intermédiation Financière dans </a:t>
            </a: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les </a:t>
            </a:r>
            <a:r>
              <a:rPr lang="fr-FR" sz="1600" b="1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grandes </a:t>
            </a: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lignes.</a:t>
            </a:r>
            <a:endParaRPr lang="en-US" dirty="0">
              <a:solidFill>
                <a:schemeClr val="tx2"/>
              </a:solidFill>
              <a:latin typeface="Roboto"/>
              <a:ea typeface="+mn-lt"/>
              <a:cs typeface="+mn-lt"/>
            </a:endParaRPr>
          </a:p>
          <a:p>
            <a:endParaRPr lang="fr-FR" dirty="0">
              <a:solidFill>
                <a:srgbClr val="09204E"/>
              </a:solidFill>
              <a:ea typeface="+mn-lt"/>
              <a:cs typeface="+mn-lt"/>
            </a:endParaRPr>
          </a:p>
          <a:p>
            <a:r>
              <a:rPr lang="fr-FR" sz="1600" b="1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Les  sujets suivants seront abordés </a:t>
            </a: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lt"/>
                <a:cs typeface="+mn-lt"/>
              </a:rPr>
              <a:t>:</a:t>
            </a:r>
            <a:endParaRPr lang="fr-FR" dirty="0">
              <a:solidFill>
                <a:schemeClr val="tx2"/>
              </a:solidFill>
            </a:endParaRPr>
          </a:p>
          <a:p>
            <a:pPr marL="283210" indent="-283210">
              <a:buFont typeface="Wingdings"/>
              <a:buChar char="ü"/>
            </a:pPr>
            <a:r>
              <a:rPr lang="fr-FR" sz="1600" b="1" dirty="0">
                <a:solidFill>
                  <a:schemeClr val="tx2"/>
                </a:solidFill>
                <a:latin typeface="Arial Nova Light"/>
              </a:rPr>
              <a:t>Les différents types d’Allocation de soutien familial</a:t>
            </a:r>
            <a:endParaRPr lang="fr-FR" dirty="0">
              <a:solidFill>
                <a:schemeClr val="tx2"/>
              </a:solidFill>
            </a:endParaRPr>
          </a:p>
          <a:p>
            <a:pPr marL="283210" indent="-283210" algn="l" rtl="0">
              <a:buFont typeface="Wingdings"/>
              <a:buChar char="ü"/>
            </a:pP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ea"/>
                <a:cs typeface="+mn-cs"/>
              </a:rPr>
              <a:t>Les grands principes de l’intermédiation financière</a:t>
            </a:r>
            <a:endParaRPr lang="fr-FR" sz="1600" b="1" kern="1200" dirty="0">
              <a:solidFill>
                <a:schemeClr val="tx2"/>
              </a:solidFill>
              <a:latin typeface="Arial Nova Light"/>
            </a:endParaRPr>
          </a:p>
          <a:p>
            <a:pPr marL="283210" indent="-283210" algn="l" rtl="0">
              <a:buFont typeface="Wingdings"/>
              <a:buChar char="ü"/>
            </a:pPr>
            <a:r>
              <a:rPr lang="fr-FR" sz="1600" b="1" kern="1200" dirty="0">
                <a:solidFill>
                  <a:schemeClr val="tx2"/>
                </a:solidFill>
                <a:latin typeface="Arial Nova Light"/>
                <a:ea typeface="+mn-ea"/>
                <a:cs typeface="+mn-cs"/>
              </a:rPr>
              <a:t>Le processus de recouvrement en cas de défaillance de paiement ou de non-retour des éléments nécessaires à la mise en place de l’Intermédiation financière (principalement les modalités de paiement)</a:t>
            </a:r>
            <a:endParaRPr lang="fr-FR" sz="1600" b="1" kern="1200" dirty="0">
              <a:solidFill>
                <a:schemeClr val="tx2"/>
              </a:solidFill>
              <a:latin typeface="Arial Nova Light"/>
            </a:endParaRPr>
          </a:p>
          <a:p>
            <a:pPr marL="0" algn="l" rtl="0"/>
            <a:endParaRPr lang="fr-FR" dirty="0"/>
          </a:p>
          <a:p>
            <a:pPr marL="0" algn="l" rtl="0"/>
            <a:r>
              <a:rPr lang="fr-FR" sz="1800" kern="1200" dirty="0">
                <a:solidFill>
                  <a:schemeClr val="tx1"/>
                </a:solidFill>
                <a:latin typeface="Arial Nova Light"/>
                <a:ea typeface="+mn-ea"/>
                <a:cs typeface="+mn-cs"/>
              </a:rPr>
              <a:t>Pour participer à cette réunion d’information :</a:t>
            </a:r>
          </a:p>
          <a:p>
            <a:r>
              <a:rPr lang="fr-FR" sz="3400" b="1" kern="1200" dirty="0">
                <a:solidFill>
                  <a:schemeClr val="accent6"/>
                </a:solidFill>
                <a:latin typeface="Arial Nova Light"/>
                <a:hlinkClick r:id="rId2"/>
              </a:rPr>
              <a:t>Réunion d'information en ligne mardi </a:t>
            </a:r>
            <a:r>
              <a:rPr lang="fr-FR" sz="3400" b="1" dirty="0">
                <a:solidFill>
                  <a:schemeClr val="accent6"/>
                </a:solidFill>
                <a:latin typeface="Arial Nova Light"/>
                <a:hlinkClick r:id="rId2"/>
              </a:rPr>
              <a:t>7 juillet</a:t>
            </a:r>
            <a:r>
              <a:rPr lang="fr-FR" sz="3400" b="1" kern="1200" dirty="0">
                <a:solidFill>
                  <a:schemeClr val="accent6"/>
                </a:solidFill>
                <a:latin typeface="Arial Nova Light"/>
                <a:hlinkClick r:id="rId2"/>
              </a:rPr>
              <a:t> </a:t>
            </a:r>
          </a:p>
          <a:p>
            <a:r>
              <a:rPr lang="fr-FR" sz="3400" b="1" kern="1200" dirty="0">
                <a:solidFill>
                  <a:schemeClr val="accent6"/>
                </a:solidFill>
                <a:latin typeface="Arial Nova Light"/>
                <a:hlinkClick r:id="rId2"/>
              </a:rPr>
              <a:t>à 12 h </a:t>
            </a:r>
            <a:r>
              <a:rPr lang="fr-FR" sz="3400" b="1" dirty="0">
                <a:solidFill>
                  <a:schemeClr val="accent6"/>
                </a:solidFill>
                <a:latin typeface="Arial Nova Light"/>
                <a:hlinkClick r:id="rId2"/>
              </a:rPr>
              <a:t> lien sur le caf.fr /Ma caf</a:t>
            </a:r>
            <a:endParaRPr lang="fr-FR" sz="3400" b="1" kern="1200" dirty="0">
              <a:solidFill>
                <a:schemeClr val="accent6"/>
              </a:solidFill>
              <a:latin typeface="Arial Nova Light"/>
            </a:endParaRPr>
          </a:p>
          <a:p>
            <a:pPr algn="ctr"/>
            <a:endParaRPr lang="en-US" dirty="0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6699B87F-9C1C-1957-C508-CB121377D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236" y="4703826"/>
            <a:ext cx="2908711" cy="215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66005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466ED-71E9-54CD-A142-75F336536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31826A6-2366-B4AD-5444-4B8C595AC3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05995" y="2282540"/>
            <a:ext cx="958532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L'enquête</a:t>
            </a:r>
            <a:r>
              <a:rPr lang="en-US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 aux </a:t>
            </a:r>
            <a:r>
              <a:rPr lang="en-US" b="1" dirty="0" err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familles</a:t>
            </a:r>
            <a:r>
              <a:rPr lang="en-US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 / jeu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993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555D1-8C1F-642B-3E28-4B11EC2A1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📢 Enquête "Parents et jeunes : donnez votre avis !"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9782F7-8C13-03E8-BB54-E716C2824D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156011"/>
            <a:ext cx="10107168" cy="581349"/>
          </a:xfrm>
        </p:spPr>
        <p:txBody>
          <a:bodyPr>
            <a:normAutofit fontScale="92500"/>
          </a:bodyPr>
          <a:lstStyle/>
          <a:p>
            <a:r>
              <a:rPr lang="fr-FR" dirty="0">
                <a:solidFill>
                  <a:schemeClr val="tx2">
                    <a:lumMod val="60000"/>
                    <a:lumOff val="40000"/>
                  </a:schemeClr>
                </a:solidFill>
              </a:rPr>
              <a:t>Les partenaires d'accueil sont invités à relayer cette enquête auprès des usagers.</a:t>
            </a:r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C0CB51-C7E9-6B53-E924-C5BFAAC372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5936" y="1477987"/>
            <a:ext cx="11511696" cy="4298044"/>
          </a:xfrm>
        </p:spPr>
        <p:txBody>
          <a:bodyPr>
            <a:normAutofit/>
          </a:bodyPr>
          <a:lstStyle/>
          <a:p>
            <a:endParaRPr lang="fr-FR" b="1" dirty="0"/>
          </a:p>
          <a:p>
            <a:r>
              <a:rPr lang="fr-FR" b="1" dirty="0"/>
              <a:t>Qui est concerné ?</a:t>
            </a:r>
            <a:endParaRPr lang="fr-FR" dirty="0"/>
          </a:p>
          <a:p>
            <a:r>
              <a:rPr lang="fr-FR" dirty="0"/>
              <a:t>👨‍👩‍👧 Les parents d'enfants de moins de 25 ans </a:t>
            </a:r>
          </a:p>
          <a:p>
            <a:r>
              <a:rPr lang="fr-FR" dirty="0"/>
              <a:t>👧🧑 Les jeunes de 12 à 25 ans </a:t>
            </a:r>
          </a:p>
          <a:p>
            <a:endParaRPr lang="fr-FR" dirty="0"/>
          </a:p>
          <a:p>
            <a:r>
              <a:rPr lang="fr-FR" b="1" dirty="0"/>
              <a:t>Pourquoi participer ?</a:t>
            </a:r>
          </a:p>
          <a:p>
            <a:br>
              <a:rPr lang="fr-FR" dirty="0"/>
            </a:br>
            <a:r>
              <a:rPr lang="fr-FR" dirty="0"/>
              <a:t>Les réponses permettront de </a:t>
            </a:r>
          </a:p>
          <a:p>
            <a:r>
              <a:rPr lang="fr-FR" dirty="0"/>
              <a:t>- mieux connaître les besoins des familles et des jeunes ; </a:t>
            </a:r>
          </a:p>
          <a:p>
            <a:r>
              <a:rPr lang="fr-FR" dirty="0"/>
              <a:t>- améliorer les services proposés sur le territoire de la Vienne.</a:t>
            </a:r>
          </a:p>
          <a:p>
            <a:endParaRPr lang="fr-FR" dirty="0"/>
          </a:p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6AAE3D-AEFD-ED1D-AE6C-A0CB10355C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pPr/>
              <a:t>17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D5E24B5-AA99-34C7-DECD-E50D4AFE4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1204" y="3228997"/>
            <a:ext cx="4765260" cy="336616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CB3D05C-8685-CB2D-576B-6CAC3F5BC3BF}"/>
              </a:ext>
            </a:extLst>
          </p:cNvPr>
          <p:cNvSpPr txBox="1"/>
          <p:nvPr/>
        </p:nvSpPr>
        <p:spPr>
          <a:xfrm>
            <a:off x="338447" y="5764165"/>
            <a:ext cx="65927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i="1" dirty="0">
                <a:solidFill>
                  <a:schemeClr val="bg1">
                    <a:lumMod val="50000"/>
                  </a:schemeClr>
                </a:solidFill>
              </a:rPr>
              <a:t>Chaque réponse compte ! Merci pour votre relais auprès des familles et des jeunes.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81D0813-C2A9-F5EB-BC94-CCD1ADDFEB2E}"/>
              </a:ext>
            </a:extLst>
          </p:cNvPr>
          <p:cNvSpPr txBox="1"/>
          <p:nvPr/>
        </p:nvSpPr>
        <p:spPr>
          <a:xfrm>
            <a:off x="7296912" y="2415643"/>
            <a:ext cx="36484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📅 Période de participation</a:t>
            </a:r>
          </a:p>
          <a:p>
            <a:r>
              <a:rPr lang="fr-FR" b="1" dirty="0"/>
              <a:t> Du 15 juin au 19 juillet 2026</a:t>
            </a:r>
          </a:p>
          <a:p>
            <a:endParaRPr lang="fr-FR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AA30C33-B6A0-5708-17F2-E84FC1CC90CD}"/>
              </a:ext>
            </a:extLst>
          </p:cNvPr>
          <p:cNvSpPr txBox="1"/>
          <p:nvPr/>
        </p:nvSpPr>
        <p:spPr>
          <a:xfrm>
            <a:off x="1035084" y="4779848"/>
            <a:ext cx="4241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👉 </a:t>
            </a:r>
            <a:r>
              <a:rPr lang="fr-FR" b="1" dirty="0"/>
              <a:t>Merci d'inviter les usagers à répondre au questionnaire en scannant le QR Code ou via le lien communiqué.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5231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49A66-BE69-2108-4A67-AD9F3DBE1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9E739BD-F8E4-8244-2927-30602B478C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54453" y="1867041"/>
            <a:ext cx="101368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Le maintien de nos permanences cet été sur l'ensemble</a:t>
            </a:r>
            <a:br>
              <a:rPr lang="en-US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</a:br>
            <a:r>
              <a:rPr lang="en-US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 du Dépar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0407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93EE14-45D1-876C-2121-DF633DB6D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40716-4D0B-E7EB-F155-E56BF0A2C9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Maintien des permanences CAF durant l'été</a:t>
            </a:r>
            <a:r>
              <a:rPr lang="fr-FR" dirty="0"/>
              <a:t> </a:t>
            </a:r>
            <a:r>
              <a:rPr lang="fr-FR" sz="4000" dirty="0"/>
              <a:t>⭐</a:t>
            </a:r>
            <a:endParaRPr lang="en-US" sz="40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C81ECC-8413-A752-BCD8-BEA0ABE81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pPr/>
              <a:t>19</a:t>
            </a:fld>
            <a:endParaRPr lang="fr-FR"/>
          </a:p>
        </p:txBody>
      </p:sp>
      <p:pic>
        <p:nvPicPr>
          <p:cNvPr id="9" name="Espace réservé du contenu 4">
            <a:extLst>
              <a:ext uri="{FF2B5EF4-FFF2-40B4-BE49-F238E27FC236}">
                <a16:creationId xmlns:a16="http://schemas.microsoft.com/office/drawing/2014/main" id="{2BD7BBF6-C02A-3712-59F2-8CA1DAFC7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38" y="1076316"/>
            <a:ext cx="4280854" cy="5545184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EFD00547-A131-F0FF-1E49-6D13A56E079F}"/>
              </a:ext>
            </a:extLst>
          </p:cNvPr>
          <p:cNvSpPr txBox="1">
            <a:spLocks/>
          </p:cNvSpPr>
          <p:nvPr/>
        </p:nvSpPr>
        <p:spPr>
          <a:xfrm>
            <a:off x="6516368" y="735440"/>
            <a:ext cx="4749040" cy="4310090"/>
          </a:xfrm>
          <a:prstGeom prst="rect">
            <a:avLst/>
          </a:prstGeom>
        </p:spPr>
        <p:txBody>
          <a:bodyPr vert="horz" lIns="82953" tIns="41476" rIns="82953" bIns="41476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rgbClr val="00359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defRPr>
            </a:lvl1pPr>
          </a:lstStyle>
          <a:p>
            <a:pPr defTabSz="829544"/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s rendez-vous avec un travailleur social sont proposés sur l’ensemble du Département de la Vienne</a:t>
            </a:r>
            <a:br>
              <a:rPr lang="fr-FR" sz="18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fr-FR" sz="18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Une présence bimensuelle dans les Maisons de la solidarité du Département :</a:t>
            </a:r>
            <a:b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-le matin  de 9h30 à 12h30 des rendez-vous ouverts sur le </a:t>
            </a: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3"/>
              </a:rPr>
              <a:t>www.caf.fr</a:t>
            </a: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pour les motifs :</a:t>
            </a:r>
            <a:b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- </a:t>
            </a:r>
            <a:r>
              <a:rPr lang="fr-FR" sz="1800" i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Je me sépare</a:t>
            </a:r>
            <a:br>
              <a:rPr lang="fr-FR" sz="1800" i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fr-FR" sz="1800" i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- J’ai perdu un proche</a:t>
            </a:r>
            <a:br>
              <a:rPr lang="fr-FR" sz="1800" i="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fr-FR" sz="18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- l’après-midi des rendez-vous à l’initiative du travailleur social</a:t>
            </a:r>
            <a:br>
              <a:rPr lang="fr-FR" sz="1361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fr-FR" sz="1361" noProof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FFA81E5-5DFE-C909-A885-C301043CDB61}"/>
              </a:ext>
            </a:extLst>
          </p:cNvPr>
          <p:cNvSpPr txBox="1"/>
          <p:nvPr/>
        </p:nvSpPr>
        <p:spPr>
          <a:xfrm>
            <a:off x="6516368" y="5461253"/>
            <a:ext cx="5321807" cy="1322614"/>
          </a:xfrm>
          <a:prstGeom prst="rect">
            <a:avLst/>
          </a:prstGeom>
        </p:spPr>
        <p:txBody>
          <a:bodyPr vert="horz" lIns="82953" tIns="41476" rIns="82953" bIns="41476" rtlCol="0">
            <a:normAutofit/>
          </a:bodyPr>
          <a:lstStyle/>
          <a:p>
            <a:pPr>
              <a:lnSpc>
                <a:spcPct val="90000"/>
              </a:lnSpc>
              <a:spcBef>
                <a:spcPts val="907"/>
              </a:spcBef>
              <a:buClr>
                <a:schemeClr val="accent1"/>
              </a:buClr>
              <a:buSzPct val="80000"/>
            </a:pPr>
            <a:r>
              <a:rPr lang="en-US" sz="2177" i="1" dirty="0"/>
              <a:t>Ces rendez-vous sont aussi proposés à Poitiers et à Châtellerault.</a:t>
            </a:r>
            <a:endParaRPr lang="en-US" sz="2177" dirty="0"/>
          </a:p>
        </p:txBody>
      </p:sp>
    </p:spTree>
    <p:extLst>
      <p:ext uri="{BB962C8B-B14F-4D97-AF65-F5344CB8AC3E}">
        <p14:creationId xmlns:p14="http://schemas.microsoft.com/office/powerpoint/2010/main" val="2707134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2000">
              <a:srgbClr val="82AEFF"/>
            </a:gs>
            <a:gs pos="100000">
              <a:schemeClr val="tx1">
                <a:lumMod val="10000"/>
                <a:lumOff val="90000"/>
              </a:schemeClr>
            </a:gs>
            <a:gs pos="6000">
              <a:schemeClr val="tx1">
                <a:lumMod val="10000"/>
                <a:lumOff val="9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>
            <a:hlinkClick r:id="rId3" action="ppaction://hlinksldjump"/>
            <a:extLst>
              <a:ext uri="{FF2B5EF4-FFF2-40B4-BE49-F238E27FC236}">
                <a16:creationId xmlns:a16="http://schemas.microsoft.com/office/drawing/2014/main" id="{6BDB9AAA-8FF8-C686-E36F-6160057852BC}"/>
              </a:ext>
            </a:extLst>
          </p:cNvPr>
          <p:cNvSpPr txBox="1"/>
          <p:nvPr/>
        </p:nvSpPr>
        <p:spPr>
          <a:xfrm>
            <a:off x="1060514" y="1625639"/>
            <a:ext cx="8415953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003593"/>
                </a:solidFill>
              </a:rPr>
              <a:t>Campagne Loyers 2026</a:t>
            </a:r>
            <a:endParaRPr lang="en-US" sz="2000" b="1">
              <a:solidFill>
                <a:srgbClr val="003593"/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0E39D2F-C960-1D26-44BB-A759A9705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8216" y="60059"/>
            <a:ext cx="9435567" cy="1068192"/>
          </a:xfrm>
        </p:spPr>
        <p:txBody>
          <a:bodyPr anchor="ctr">
            <a:normAutofit/>
          </a:bodyPr>
          <a:lstStyle/>
          <a:p>
            <a:pPr algn="ctr"/>
            <a:r>
              <a:rPr lang="fr-FR" sz="4800">
                <a:solidFill>
                  <a:srgbClr val="535E86"/>
                </a:solidFill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En bref ce mois-ci …</a:t>
            </a:r>
            <a:endParaRPr lang="fr-FR" sz="4400">
              <a:solidFill>
                <a:srgbClr val="535E86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A4A396D-8702-9C57-00D8-2B95C422848D}"/>
              </a:ext>
            </a:extLst>
          </p:cNvPr>
          <p:cNvSpPr txBox="1"/>
          <p:nvPr/>
        </p:nvSpPr>
        <p:spPr>
          <a:xfrm>
            <a:off x="4124323" y="916241"/>
            <a:ext cx="428443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4000">
                <a:solidFill>
                  <a:srgbClr val="535E86"/>
                </a:solidFill>
              </a:rPr>
              <a:t>Juillet </a:t>
            </a:r>
            <a:r>
              <a:rPr lang="fr-FR" sz="4000" b="1" dirty="0">
                <a:solidFill>
                  <a:srgbClr val="535E86"/>
                </a:solidFill>
              </a:rPr>
              <a:t>2026</a:t>
            </a:r>
          </a:p>
        </p:txBody>
      </p:sp>
      <p:sp>
        <p:nvSpPr>
          <p:cNvPr id="6" name="Organigramme : Connecteur 5">
            <a:extLst>
              <a:ext uri="{FF2B5EF4-FFF2-40B4-BE49-F238E27FC236}">
                <a16:creationId xmlns:a16="http://schemas.microsoft.com/office/drawing/2014/main" id="{93FFF963-FABB-5C81-7B6D-D57A227BE2F8}"/>
              </a:ext>
            </a:extLst>
          </p:cNvPr>
          <p:cNvSpPr/>
          <p:nvPr/>
        </p:nvSpPr>
        <p:spPr>
          <a:xfrm>
            <a:off x="723901" y="3131158"/>
            <a:ext cx="800250" cy="818941"/>
          </a:xfrm>
          <a:prstGeom prst="flowChartConnector">
            <a:avLst/>
          </a:prstGeom>
          <a:solidFill>
            <a:srgbClr val="82AEFF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hlinkClick r:id="rId4" action="ppaction://hlinksldjump"/>
            <a:extLst>
              <a:ext uri="{FF2B5EF4-FFF2-40B4-BE49-F238E27FC236}">
                <a16:creationId xmlns:a16="http://schemas.microsoft.com/office/drawing/2014/main" id="{BE5A9FCB-692D-61B3-4B92-5D972A2D8AE9}"/>
              </a:ext>
            </a:extLst>
          </p:cNvPr>
          <p:cNvSpPr txBox="1"/>
          <p:nvPr/>
        </p:nvSpPr>
        <p:spPr>
          <a:xfrm>
            <a:off x="1055543" y="2201804"/>
            <a:ext cx="7625378" cy="40011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003593"/>
                </a:solidFill>
              </a:rPr>
              <a:t>Campagne Allocation de rentrée scolaire 2026</a:t>
            </a:r>
            <a:endParaRPr lang="en-US" sz="2000" b="1">
              <a:solidFill>
                <a:srgbClr val="003593"/>
              </a:solidFill>
            </a:endParaRPr>
          </a:p>
        </p:txBody>
      </p:sp>
      <p:sp>
        <p:nvSpPr>
          <p:cNvPr id="12" name="ZoneTexte 11">
            <a:hlinkClick r:id="rId5" action="ppaction://hlinksldjump"/>
            <a:extLst>
              <a:ext uri="{FF2B5EF4-FFF2-40B4-BE49-F238E27FC236}">
                <a16:creationId xmlns:a16="http://schemas.microsoft.com/office/drawing/2014/main" id="{9524003E-A399-6C50-0474-B399B0D71ACE}"/>
              </a:ext>
            </a:extLst>
          </p:cNvPr>
          <p:cNvSpPr txBox="1"/>
          <p:nvPr/>
        </p:nvSpPr>
        <p:spPr>
          <a:xfrm>
            <a:off x="1053257" y="2850314"/>
            <a:ext cx="7744668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003593"/>
                </a:solidFill>
              </a:rPr>
              <a:t>Evolutions demandes RSA /PPA et ressources</a:t>
            </a:r>
            <a:endParaRPr lang="en-US" sz="2000" b="1" dirty="0">
              <a:solidFill>
                <a:srgbClr val="003593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0E7EE30-7DEB-E147-7553-58F7E4F072C7}"/>
              </a:ext>
            </a:extLst>
          </p:cNvPr>
          <p:cNvSpPr txBox="1"/>
          <p:nvPr/>
        </p:nvSpPr>
        <p:spPr>
          <a:xfrm>
            <a:off x="1053256" y="4341343"/>
            <a:ext cx="9763506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2000" b="1" dirty="0">
                <a:solidFill>
                  <a:srgbClr val="003593"/>
                </a:solidFill>
                <a:ea typeface="Roboto"/>
                <a:cs typeface="Roboto"/>
              </a:rPr>
              <a:t>Webinaire </a:t>
            </a:r>
            <a:r>
              <a:rPr lang="fr-FR" sz="2000" b="1" dirty="0" err="1">
                <a:solidFill>
                  <a:srgbClr val="003593"/>
                </a:solidFill>
                <a:ea typeface="Roboto"/>
                <a:cs typeface="Roboto"/>
              </a:rPr>
              <a:t>Aripa</a:t>
            </a:r>
            <a:r>
              <a:rPr lang="fr-FR" sz="2000" b="1" dirty="0">
                <a:solidFill>
                  <a:srgbClr val="003593"/>
                </a:solidFill>
                <a:ea typeface="Roboto"/>
                <a:cs typeface="Roboto"/>
              </a:rPr>
              <a:t> </a:t>
            </a:r>
            <a:endParaRPr lang="en-US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B8B350DA-BC2E-D4CC-E97F-F606AF19C51C}"/>
              </a:ext>
            </a:extLst>
          </p:cNvPr>
          <p:cNvSpPr txBox="1"/>
          <p:nvPr/>
        </p:nvSpPr>
        <p:spPr>
          <a:xfrm>
            <a:off x="1053256" y="5014175"/>
            <a:ext cx="9763506" cy="40011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dirty="0" err="1">
                <a:solidFill>
                  <a:srgbClr val="003593"/>
                </a:solidFill>
              </a:rPr>
              <a:t>L'enquête</a:t>
            </a:r>
            <a:r>
              <a:rPr lang="en-US" sz="2000" b="1" dirty="0">
                <a:solidFill>
                  <a:srgbClr val="003593"/>
                </a:solidFill>
              </a:rPr>
              <a:t> aux </a:t>
            </a:r>
            <a:r>
              <a:rPr lang="en-US" sz="2000" b="1" dirty="0" err="1">
                <a:solidFill>
                  <a:srgbClr val="003593"/>
                </a:solidFill>
              </a:rPr>
              <a:t>familles</a:t>
            </a:r>
            <a:r>
              <a:rPr lang="en-US" sz="2000" b="1" dirty="0">
                <a:solidFill>
                  <a:srgbClr val="003593"/>
                </a:solidFill>
              </a:rPr>
              <a:t> / jeunes</a:t>
            </a:r>
          </a:p>
        </p:txBody>
      </p:sp>
      <p:sp>
        <p:nvSpPr>
          <p:cNvPr id="5" name="ZoneTexte 22">
            <a:extLst>
              <a:ext uri="{FF2B5EF4-FFF2-40B4-BE49-F238E27FC236}">
                <a16:creationId xmlns:a16="http://schemas.microsoft.com/office/drawing/2014/main" id="{E5ED590A-21C4-AACF-42DA-459135930626}"/>
              </a:ext>
            </a:extLst>
          </p:cNvPr>
          <p:cNvSpPr txBox="1"/>
          <p:nvPr/>
        </p:nvSpPr>
        <p:spPr>
          <a:xfrm>
            <a:off x="1053256" y="5652803"/>
            <a:ext cx="9763506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dirty="0">
                <a:solidFill>
                  <a:srgbClr val="003593"/>
                </a:solidFill>
              </a:rPr>
              <a:t>Le maintien de nos permanences cet été sur l'ensemble du Département</a:t>
            </a:r>
          </a:p>
        </p:txBody>
      </p:sp>
      <p:sp>
        <p:nvSpPr>
          <p:cNvPr id="7" name="ZoneTexte 20">
            <a:extLst>
              <a:ext uri="{FF2B5EF4-FFF2-40B4-BE49-F238E27FC236}">
                <a16:creationId xmlns:a16="http://schemas.microsoft.com/office/drawing/2014/main" id="{0D14754E-0A56-92D0-0E0F-6ACD2F2F0C63}"/>
              </a:ext>
            </a:extLst>
          </p:cNvPr>
          <p:cNvSpPr txBox="1"/>
          <p:nvPr/>
        </p:nvSpPr>
        <p:spPr>
          <a:xfrm>
            <a:off x="1053256" y="3538292"/>
            <a:ext cx="9763506" cy="70788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2000" b="1">
                <a:solidFill>
                  <a:srgbClr val="003593"/>
                </a:solidFill>
              </a:rPr>
              <a:t>ARIPA(*) – Mise en place d’un SVI visuel : un parcours unique avec un motif dédié à la pension alimentaire</a:t>
            </a:r>
            <a:endParaRPr lang="en-US" sz="2000" b="1">
              <a:solidFill>
                <a:srgbClr val="0035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181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3BBB629-0B8F-41AA-C4BC-CC49C81A3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10" name="TextBox 28">
            <a:extLst>
              <a:ext uri="{FF2B5EF4-FFF2-40B4-BE49-F238E27FC236}">
                <a16:creationId xmlns:a16="http://schemas.microsoft.com/office/drawing/2014/main" id="{AB62DCE4-8F01-3A06-EF3D-EF3AB72B96C6}"/>
              </a:ext>
            </a:extLst>
          </p:cNvPr>
          <p:cNvSpPr txBox="1"/>
          <p:nvPr/>
        </p:nvSpPr>
        <p:spPr>
          <a:xfrm>
            <a:off x="677069" y="1349533"/>
            <a:ext cx="10837862" cy="827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endParaRPr lang="fr-FR" sz="1599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graphicFrame>
        <p:nvGraphicFramePr>
          <p:cNvPr id="4" name="ZoneTexte 11">
            <a:extLst>
              <a:ext uri="{FF2B5EF4-FFF2-40B4-BE49-F238E27FC236}">
                <a16:creationId xmlns:a16="http://schemas.microsoft.com/office/drawing/2014/main" id="{5EAFD1E9-9740-CDDB-416C-CBBF24C939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0099584"/>
              </p:ext>
            </p:extLst>
          </p:nvPr>
        </p:nvGraphicFramePr>
        <p:xfrm>
          <a:off x="1766983" y="1602581"/>
          <a:ext cx="8919292" cy="36528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ZoneTexte 9">
            <a:extLst>
              <a:ext uri="{FF2B5EF4-FFF2-40B4-BE49-F238E27FC236}">
                <a16:creationId xmlns:a16="http://schemas.microsoft.com/office/drawing/2014/main" id="{86BEDF46-9586-FB3E-93A4-8D526EE4F0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 rtl="0">
              <a:defRPr lang="fr-FR"/>
            </a:defPPr>
            <a:lvl1pPr marL="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r-FR" sz="360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lace à vos</a:t>
            </a:r>
            <a:r>
              <a:rPr lang="fr-FR" sz="3600" b="0" kern="120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questions </a:t>
            </a:r>
            <a:r>
              <a:rPr lang="fr-FR" sz="360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...</a:t>
            </a:r>
            <a:endParaRPr lang="fr-FR" sz="3600" kern="1200">
              <a:solidFill>
                <a:schemeClr val="accent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Box 10">
            <a:extLst>
              <a:ext uri="{FF2B5EF4-FFF2-40B4-BE49-F238E27FC236}">
                <a16:creationId xmlns:a16="http://schemas.microsoft.com/office/drawing/2014/main" id="{4816E0AD-61F5-D86C-0980-D2C70F52F7E9}"/>
              </a:ext>
            </a:extLst>
          </p:cNvPr>
          <p:cNvSpPr txBox="1"/>
          <p:nvPr/>
        </p:nvSpPr>
        <p:spPr>
          <a:xfrm>
            <a:off x="1767840" y="1024444"/>
            <a:ext cx="6096000" cy="147732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rtl="0">
              <a:defRPr lang="fr-FR"/>
            </a:defPPr>
            <a:lvl1pPr marL="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fr-F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36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t </a:t>
            </a:r>
            <a:endParaRPr lang="en-US" sz="3600" dirty="0">
              <a:solidFill>
                <a:schemeClr val="accent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fr-FR" sz="36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chaines</a:t>
            </a:r>
            <a:r>
              <a:rPr lang="fr-FR" dirty="0">
                <a:solidFill>
                  <a:srgbClr val="126169"/>
                </a:solidFill>
                <a:latin typeface="Elephant"/>
              </a:rPr>
              <a:t> </a:t>
            </a:r>
            <a:r>
              <a:rPr lang="fr-FR" sz="36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ates :</a:t>
            </a:r>
            <a:endParaRPr lang="en-US" sz="3600" dirty="0">
              <a:solidFill>
                <a:schemeClr val="accent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0508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CF111-98F8-B36D-E763-05E9BC02A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400" dirty="0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rci !</a:t>
            </a:r>
            <a:endParaRPr lang="fr-FR" dirty="0">
              <a:latin typeface="Dreaming Outloud Script Pro" panose="03050502040304050704" pitchFamily="66" charset="0"/>
              <a:cs typeface="Dreaming Outloud Script Pro" panose="03050502040304050704" pitchFamily="66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27C6657-8D54-C653-F1FF-DE711917CC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17" y="86199"/>
            <a:ext cx="1019317" cy="140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56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6504A1-6164-AC14-75D4-13CB5D157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Campagne Loyers 2026</a:t>
            </a:r>
            <a:endParaRPr lang="fr-FR">
              <a:solidFill>
                <a:srgbClr val="0035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303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DA2CC-0448-CC98-9EC0-881B7B936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F78C77-8442-B1E8-1CBB-E5857672E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Roboto Bold"/>
                <a:ea typeface="Roboto Bold"/>
                <a:cs typeface="Roboto Bold"/>
              </a:rPr>
              <a:t>Campagne</a:t>
            </a:r>
            <a:r>
              <a:rPr lang="fr-FR" dirty="0">
                <a:latin typeface="Roboto Bold"/>
                <a:ea typeface="Roboto Bold"/>
                <a:cs typeface="Roboto Bold"/>
              </a:rPr>
              <a:t> Loyers 2026</a:t>
            </a:r>
            <a:endParaRPr lang="en-US" dirty="0">
              <a:latin typeface="Roboto Bold"/>
              <a:ea typeface="Roboto Bold"/>
              <a:cs typeface="Roboto Bold"/>
            </a:endParaRPr>
          </a:p>
          <a:p>
            <a:endParaRPr lang="fr-FR"/>
          </a:p>
        </p:txBody>
      </p:sp>
      <p:pic>
        <p:nvPicPr>
          <p:cNvPr id="12" name="Image 11" descr="Une image contenant cercle, logo, Graphique, Police&#10;&#10;Le contenu généré par l’IA peut être incorrect.">
            <a:extLst>
              <a:ext uri="{FF2B5EF4-FFF2-40B4-BE49-F238E27FC236}">
                <a16:creationId xmlns:a16="http://schemas.microsoft.com/office/drawing/2014/main" id="{3F0D05AB-BCFF-472A-4208-3882B3456AB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7" t="6175"/>
          <a:stretch>
            <a:fillRect/>
          </a:stretch>
        </p:blipFill>
        <p:spPr>
          <a:xfrm>
            <a:off x="83970" y="1353318"/>
            <a:ext cx="1129074" cy="1110482"/>
          </a:xfrm>
          <a:prstGeom prst="flowChartConnector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2575B0E-35EC-981B-E754-8700E481C397}"/>
              </a:ext>
            </a:extLst>
          </p:cNvPr>
          <p:cNvSpPr txBox="1"/>
          <p:nvPr/>
        </p:nvSpPr>
        <p:spPr>
          <a:xfrm>
            <a:off x="1353004" y="1426100"/>
            <a:ext cx="10352087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>
                <a:ea typeface="Roboto"/>
                <a:cs typeface="Roboto"/>
              </a:rPr>
              <a:t>Chaque année, la Caf sollicite les bailleurs afin d’obtenir le montant du loyer du mois de juillet de leurs locataires bénéficiaires d’une aide au logement.</a:t>
            </a:r>
            <a:br>
              <a:rPr lang="fr-FR" dirty="0">
                <a:ea typeface="Roboto"/>
                <a:cs typeface="Roboto"/>
              </a:rPr>
            </a:br>
            <a:r>
              <a:rPr lang="fr-FR">
                <a:ea typeface="Roboto"/>
                <a:cs typeface="Roboto"/>
              </a:rPr>
              <a:t>Sans cette information, les droits aux aides au logement sont suspendus à compter du mois de janvier suivant.</a:t>
            </a:r>
            <a:endParaRPr lang="en-US">
              <a:ea typeface="Roboto"/>
              <a:cs typeface="Roboto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49213B2-9734-1E5D-FF3B-1E584ED87CCC}"/>
              </a:ext>
            </a:extLst>
          </p:cNvPr>
          <p:cNvSpPr txBox="1"/>
          <p:nvPr/>
        </p:nvSpPr>
        <p:spPr>
          <a:xfrm>
            <a:off x="2554607" y="2638856"/>
            <a:ext cx="8441779" cy="39703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Font typeface="Arial"/>
              <a:buChar char="•"/>
            </a:pPr>
            <a:r>
              <a:rPr lang="fr-FR" b="1" u="sng">
                <a:ea typeface="Roboto"/>
                <a:cs typeface="Roboto"/>
              </a:rPr>
              <a:t> Contexte </a:t>
            </a:r>
            <a:r>
              <a:rPr lang="fr-FR" b="1">
                <a:ea typeface="Roboto"/>
                <a:cs typeface="Roboto"/>
              </a:rPr>
              <a:t>:</a:t>
            </a:r>
            <a:endParaRPr lang="en-US">
              <a:ea typeface="Roboto"/>
              <a:cs typeface="Roboto"/>
            </a:endParaRPr>
          </a:p>
          <a:p>
            <a:br>
              <a:rPr lang="fr-FR" dirty="0">
                <a:ea typeface="Roboto"/>
                <a:cs typeface="Roboto"/>
              </a:rPr>
            </a:br>
            <a:r>
              <a:rPr lang="fr-FR">
                <a:ea typeface="Roboto"/>
                <a:cs typeface="Roboto"/>
              </a:rPr>
              <a:t>Dans Mon Compte partenaire le bailleur est informé qu'il a la possibilité de débuter les télédéclarations de loyers.</a:t>
            </a:r>
            <a:endParaRPr lang="en-US">
              <a:ea typeface="Roboto"/>
              <a:cs typeface="Roboto"/>
            </a:endParaRPr>
          </a:p>
          <a:p>
            <a:br>
              <a:rPr lang="fr-FR" dirty="0">
                <a:ea typeface="Roboto"/>
                <a:cs typeface="Roboto"/>
              </a:rPr>
            </a:br>
            <a:r>
              <a:rPr lang="fr-FR">
                <a:ea typeface="Roboto"/>
                <a:cs typeface="Roboto"/>
              </a:rPr>
              <a:t>Le bailleur peut identifier depuis la page, « Mes informations » :</a:t>
            </a:r>
          </a:p>
          <a:p>
            <a:pPr>
              <a:buFont typeface="Arial"/>
              <a:buChar char="•"/>
            </a:pPr>
            <a:r>
              <a:rPr lang="fr-FR">
                <a:ea typeface="Roboto"/>
                <a:cs typeface="Roboto"/>
              </a:rPr>
              <a:t>qu’il lui reste des loyers à télédéclarer et,</a:t>
            </a:r>
          </a:p>
          <a:p>
            <a:pPr>
              <a:buFont typeface="Arial"/>
              <a:buChar char="•"/>
            </a:pPr>
            <a:r>
              <a:rPr lang="fr-FR">
                <a:ea typeface="Roboto"/>
                <a:cs typeface="Roboto"/>
              </a:rPr>
              <a:t>qu’il doit finaliser ses déclarations.</a:t>
            </a:r>
          </a:p>
          <a:p>
            <a:pPr>
              <a:buFont typeface="Arial"/>
              <a:buChar char="•"/>
            </a:pPr>
            <a:r>
              <a:rPr lang="fr-FR">
                <a:ea typeface="Roboto"/>
                <a:cs typeface="Roboto"/>
              </a:rPr>
              <a:t>Il doit également bénéficier d’un accès rapide aux télédéclarations.</a:t>
            </a:r>
          </a:p>
          <a:p>
            <a:endParaRPr lang="fr-FR" dirty="0">
              <a:ea typeface="Roboto"/>
              <a:cs typeface="Roboto"/>
            </a:endParaRPr>
          </a:p>
          <a:p>
            <a:r>
              <a:rPr lang="fr-FR">
                <a:ea typeface="Roboto"/>
                <a:cs typeface="Roboto"/>
              </a:rPr>
              <a:t>C’est pourquoi, sur l’écran « Bienvenue », une alerte a été ajoutée (inspirée du modèle présent sur caf.fr), elle lui indique qu’il lui reste des loyers à déclarer, avec un lien direct vers la page « Mes locataires » pour faciliter l’accès</a:t>
            </a:r>
            <a:r>
              <a:rPr lang="fr-FR" sz="1200">
                <a:solidFill>
                  <a:srgbClr val="283045"/>
                </a:solidFill>
                <a:highlight>
                  <a:srgbClr val="FFFFFF"/>
                </a:highlight>
                <a:ea typeface="+mn-lt"/>
                <a:cs typeface="+mn-lt"/>
              </a:rPr>
              <a:t>.</a:t>
            </a:r>
            <a:endParaRPr lang="fr-FR"/>
          </a:p>
          <a:p>
            <a:pPr marL="285750" indent="-285750">
              <a:buFontTx/>
              <a:buChar char="-"/>
            </a:pPr>
            <a:endParaRPr lang="fr-FR" dirty="0">
              <a:ea typeface="Roboto"/>
              <a:cs typeface="Roboto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185F069-A0D6-C81F-1AFA-5FFDF567D92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515" b="93811" l="10000" r="98276">
                        <a14:foregroundMark x1="24483" y1="58958" x2="22069" y2="31922"/>
                        <a14:foregroundMark x1="22069" y1="31922" x2="44483" y2="47883"/>
                        <a14:foregroundMark x1="44483" y1="47883" x2="28621" y2="59935"/>
                        <a14:foregroundMark x1="26552" y1="33876" x2="25517" y2="57980"/>
                        <a14:foregroundMark x1="32759" y1="31922" x2="25517" y2="60912"/>
                        <a14:foregroundMark x1="11724" y1="43974" x2="39310" y2="55700"/>
                        <a14:foregroundMark x1="39310" y1="55700" x2="70690" y2="28339"/>
                        <a14:foregroundMark x1="70690" y1="28339" x2="52414" y2="49186"/>
                        <a14:foregroundMark x1="52414" y1="49186" x2="52414" y2="52769"/>
                        <a14:foregroundMark x1="47241" y1="23453" x2="78966" y2="17264"/>
                        <a14:foregroundMark x1="78966" y1="17264" x2="86207" y2="36482"/>
                        <a14:foregroundMark x1="42414" y1="21498" x2="73448" y2="11401"/>
                        <a14:foregroundMark x1="73448" y1="11401" x2="91034" y2="34853"/>
                        <a14:foregroundMark x1="91034" y1="34853" x2="91034" y2="34853"/>
                        <a14:foregroundMark x1="38276" y1="16938" x2="48621" y2="24430"/>
                        <a14:foregroundMark x1="55172" y1="8469" x2="56207" y2="18893"/>
                        <a14:foregroundMark x1="71034" y1="6515" x2="66207" y2="19544"/>
                        <a14:foregroundMark x1="76207" y1="23453" x2="93103" y2="21498"/>
                        <a14:foregroundMark x1="78276" y1="32573" x2="98276" y2="31596"/>
                        <a14:foregroundMark x1="58276" y1="52443" x2="57241" y2="58306"/>
                        <a14:foregroundMark x1="13793" y1="41042" x2="12069" y2="67752"/>
                        <a14:foregroundMark x1="12069" y1="67752" x2="50345" y2="92182"/>
                        <a14:foregroundMark x1="50345" y1="92182" x2="70345" y2="91205"/>
                        <a14:foregroundMark x1="46207" y1="90228" x2="18621" y2="90879"/>
                        <a14:foregroundMark x1="18621" y1="90879" x2="18621" y2="90879"/>
                        <a14:foregroundMark x1="42414" y1="92508" x2="16552" y2="93811"/>
                        <a14:foregroundMark x1="17586" y1="91205" x2="22414" y2="92508"/>
                        <a14:foregroundMark x1="28621" y1="91857" x2="10690" y2="92508"/>
                        <a14:foregroundMark x1="29655" y1="33550" x2="27931" y2="5993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5739" y="4447506"/>
            <a:ext cx="1803142" cy="190884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4F5BE6-4A09-22FA-4395-172956D4FD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94973"/>
            <a:ext cx="12192000" cy="37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156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B33636-1904-9FB4-5094-4080ACB2A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696" y="2084438"/>
            <a:ext cx="8409367" cy="1344561"/>
          </a:xfrm>
        </p:spPr>
        <p:txBody>
          <a:bodyPr/>
          <a:lstStyle/>
          <a:p>
            <a:r>
              <a:rPr lang="fr-FR" b="1" dirty="0">
                <a:solidFill>
                  <a:srgbClr val="003593"/>
                </a:solidFill>
                <a:latin typeface="Roboto"/>
                <a:ea typeface="Roboto"/>
                <a:cs typeface="Roboto"/>
              </a:rPr>
              <a:t>Campagne Allocation de rentrée </a:t>
            </a:r>
            <a:r>
              <a:rPr lang="fr-FR" b="1">
                <a:solidFill>
                  <a:srgbClr val="003593"/>
                </a:solidFill>
                <a:latin typeface="Roboto"/>
                <a:ea typeface="Roboto"/>
                <a:cs typeface="Roboto"/>
              </a:rPr>
              <a:t>scolaire 2026</a:t>
            </a:r>
            <a:endParaRPr lang="fr-FR" dirty="0">
              <a:solidFill>
                <a:srgbClr val="0035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17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8F5C05-38E2-D71A-9395-4607D19F2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>
                <a:latin typeface="Roboto"/>
                <a:ea typeface="Roboto"/>
                <a:cs typeface="Roboto"/>
              </a:rPr>
              <a:t>Campagne ARS 2026 (Allocation de rentrée scolaire)</a:t>
            </a:r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22C642-A8A3-C26A-DF72-9A8168060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1" name="TextBox 28">
            <a:extLst>
              <a:ext uri="{FF2B5EF4-FFF2-40B4-BE49-F238E27FC236}">
                <a16:creationId xmlns:a16="http://schemas.microsoft.com/office/drawing/2014/main" id="{6A42353B-91E8-F62B-9353-12FF8084046B}"/>
              </a:ext>
            </a:extLst>
          </p:cNvPr>
          <p:cNvSpPr txBox="1"/>
          <p:nvPr/>
        </p:nvSpPr>
        <p:spPr>
          <a:xfrm>
            <a:off x="656771" y="1117069"/>
            <a:ext cx="6982097" cy="2628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Ouverture de la téléprocédure le 05 juillet 2026 jusqu’au 31 décembre 2026</a:t>
            </a:r>
            <a:r>
              <a:rPr lang="fr-FR" sz="1200">
                <a:solidFill>
                  <a:srgbClr val="283045"/>
                </a:solidFill>
                <a:highlight>
                  <a:srgbClr val="FFFFFF"/>
                </a:highlight>
                <a:ea typeface="+mn-lt"/>
                <a:cs typeface="+mn-lt"/>
              </a:rPr>
              <a:t>.</a:t>
            </a:r>
            <a:r>
              <a:rPr lang="fr-FR" sz="1200" dirty="0">
                <a:solidFill>
                  <a:srgbClr val="E87015"/>
                </a:solidFill>
                <a:highlight>
                  <a:srgbClr val="FFFFFF"/>
                </a:highlight>
                <a:ea typeface="+mn-lt"/>
                <a:cs typeface="+mn-lt"/>
                <a:hlinkClick r:id="rId2"/>
              </a:rPr>
              <a:t>.</a:t>
            </a:r>
            <a:endParaRPr lang="en-US"/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C2273597-770B-397F-6322-B1068771147F}"/>
              </a:ext>
            </a:extLst>
          </p:cNvPr>
          <p:cNvSpPr txBox="1"/>
          <p:nvPr/>
        </p:nvSpPr>
        <p:spPr>
          <a:xfrm>
            <a:off x="656770" y="1713484"/>
            <a:ext cx="10632440" cy="54815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/>
            <a:r>
              <a:rPr lang="fr-FR" b="1">
                <a:solidFill>
                  <a:srgbClr val="B14427"/>
                </a:solidFill>
                <a:highlight>
                  <a:srgbClr val="FBFBFB"/>
                </a:highlight>
                <a:latin typeface="Arial"/>
                <a:ea typeface="Roboto Light" panose="02000000000000000000" pitchFamily="2" charset="0"/>
                <a:cs typeface="Arial"/>
              </a:rPr>
              <a:t>Calendrier prévisionnel de la campagne ARS</a:t>
            </a:r>
            <a:endParaRPr lang="en-US"/>
          </a:p>
          <a:p>
            <a:pPr algn="just"/>
            <a:endParaRPr lang="fr-FR" b="1" dirty="0">
              <a:solidFill>
                <a:srgbClr val="B14427"/>
              </a:solidFill>
              <a:highlight>
                <a:srgbClr val="FBFBFB"/>
              </a:highlight>
              <a:latin typeface="Arial"/>
              <a:ea typeface="Roboto Light"/>
              <a:cs typeface="Arial"/>
            </a:endParaRPr>
          </a:p>
          <a:p>
            <a:r>
              <a:rPr lang="fr-FR" sz="1550" dirty="0">
                <a:ea typeface="Roboto Light"/>
                <a:cs typeface="Roboto Light"/>
              </a:rPr>
              <a:t>Juin à août : actions pro-actives de relation de service et de production (sms local, appels sortants, ciblage et mise à jour </a:t>
            </a:r>
            <a:r>
              <a:rPr lang="fr-FR" sz="1550">
                <a:ea typeface="Roboto Light"/>
                <a:cs typeface="Roboto Light"/>
              </a:rPr>
              <a:t>de dossier, etc.) au choix des Caf .</a:t>
            </a:r>
            <a:br>
              <a:rPr lang="fr-FR" sz="1550" dirty="0">
                <a:ea typeface="Roboto Light"/>
                <a:cs typeface="Roboto Light"/>
              </a:rPr>
            </a:br>
            <a:endParaRPr lang="fr-FR" sz="1550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sz="1550">
                <a:ea typeface="Roboto Light"/>
                <a:cs typeface="Roboto Light"/>
              </a:rPr>
              <a:t>5 juillet 2026 : ouverture de la téléprocédure pour les allocataires.</a:t>
            </a:r>
            <a:endParaRPr lang="fr-FR" sz="155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endParaRPr lang="fr-FR" sz="1550" dirty="0">
              <a:ea typeface="Roboto Light"/>
              <a:cs typeface="Roboto Light"/>
            </a:endParaRPr>
          </a:p>
          <a:p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6 / 7 juillet 2026 : envoi d’un mail ou d’un courrier d’incitation à déclarer la scolarité des enfants âgés de 16 à 18 ans auprès des allocataires concernés.</a:t>
            </a:r>
            <a:endParaRPr lang="fr-FR" sz="1550">
              <a:ea typeface="Roboto Light"/>
              <a:cs typeface="Roboto Light"/>
            </a:endParaRPr>
          </a:p>
          <a:p>
            <a:endParaRPr lang="fr-FR" sz="1550" dirty="0">
              <a:ea typeface="Roboto Light"/>
              <a:cs typeface="Roboto Light"/>
            </a:endParaRPr>
          </a:p>
          <a:p>
            <a:r>
              <a:rPr lang="fr-FR" sz="1550">
                <a:ea typeface="Roboto Light"/>
                <a:cs typeface="Roboto Light"/>
              </a:rPr>
              <a:t>17 juillet 2026 : relance Sms</a:t>
            </a:r>
            <a:endParaRPr lang="fr-FR" sz="155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endParaRPr lang="fr-FR" sz="1550" dirty="0">
              <a:ea typeface="Roboto Light"/>
              <a:cs typeface="Roboto Light"/>
            </a:endParaRPr>
          </a:p>
          <a:p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25 juillet 2026 : pour la Caf de La Réunion uniquement deuxième relance nationale par mail ou courrier.</a:t>
            </a:r>
          </a:p>
          <a:p>
            <a:endParaRPr lang="fr-FR" sz="1550" dirty="0">
              <a:ea typeface="Roboto Light"/>
              <a:cs typeface="Roboto Light"/>
            </a:endParaRPr>
          </a:p>
          <a:p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6 août 2026 : pour les CAF de métropole et des autres DOM: deuxième relance nationale par mail ou courrier.</a:t>
            </a:r>
          </a:p>
          <a:p>
            <a:endParaRPr lang="fr-FR" sz="1550" dirty="0">
              <a:ea typeface="Roboto Light"/>
              <a:cs typeface="Roboto Light"/>
            </a:endParaRPr>
          </a:p>
          <a:p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5 septembre 2026 : Troisième relance par mail ou courrier.</a:t>
            </a:r>
          </a:p>
          <a:p>
            <a:endParaRPr lang="fr-FR" sz="1550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fr-FR" sz="1599">
                <a:ea typeface="Roboto Light" panose="02000000000000000000" pitchFamily="2" charset="0"/>
                <a:cs typeface="Roboto Light" panose="02000000000000000000" pitchFamily="2" charset="0"/>
              </a:rPr>
              <a:t>31 décembre 2026 : Fermeture de la téléprocédure.</a:t>
            </a:r>
          </a:p>
          <a:p>
            <a:pPr algn="just">
              <a:lnSpc>
                <a:spcPts val="2239"/>
              </a:lnSpc>
            </a:pPr>
            <a:endParaRPr lang="fr-FR" sz="1550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just">
              <a:lnSpc>
                <a:spcPts val="2239"/>
              </a:lnSpc>
            </a:pPr>
            <a:endParaRPr lang="fr-FR" sz="1599" dirty="0"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999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15873E-BCEB-E331-7B5E-C5C619813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467" y="2084438"/>
            <a:ext cx="8641596" cy="1344561"/>
          </a:xfrm>
        </p:spPr>
        <p:txBody>
          <a:bodyPr/>
          <a:lstStyle/>
          <a:p>
            <a:r>
              <a:rPr lang="fr-FR">
                <a:solidFill>
                  <a:srgbClr val="003593"/>
                </a:solidFill>
                <a:latin typeface="Roboto Black"/>
                <a:ea typeface="Roboto Black"/>
                <a:cs typeface="Roboto Black"/>
              </a:rPr>
              <a:t>Evolutions </a:t>
            </a:r>
            <a:r>
              <a:rPr lang="fr-FR" dirty="0">
                <a:solidFill>
                  <a:srgbClr val="003593"/>
                </a:solidFill>
                <a:latin typeface="Roboto Black"/>
                <a:ea typeface="Roboto Black"/>
                <a:cs typeface="Roboto Black"/>
              </a:rPr>
              <a:t>demandes RSA /PPA</a:t>
            </a:r>
          </a:p>
        </p:txBody>
      </p:sp>
    </p:spTree>
    <p:extLst>
      <p:ext uri="{BB962C8B-B14F-4D97-AF65-F5344CB8AC3E}">
        <p14:creationId xmlns:p14="http://schemas.microsoft.com/office/powerpoint/2010/main" val="318797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E8A430-8FF1-548F-C400-CE26BC93C4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9F90BD-4147-77BE-E3F9-A6E8EEC9C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3000">
                <a:latin typeface="Roboto Black"/>
                <a:ea typeface="Roboto Black"/>
                <a:cs typeface="Roboto Black"/>
              </a:rPr>
              <a:t>Pré-remplissage des ressources pour les demandes RSA </a:t>
            </a:r>
            <a:r>
              <a:rPr lang="fr-FR" sz="3000" dirty="0">
                <a:latin typeface="Roboto Black"/>
                <a:ea typeface="Roboto Black"/>
                <a:cs typeface="Roboto Black"/>
              </a:rPr>
              <a:t>/PPA</a:t>
            </a:r>
            <a:endParaRPr lang="en-US" dirty="0"/>
          </a:p>
        </p:txBody>
      </p:sp>
      <p:sp>
        <p:nvSpPr>
          <p:cNvPr id="12" name="TextBox 28">
            <a:extLst>
              <a:ext uri="{FF2B5EF4-FFF2-40B4-BE49-F238E27FC236}">
                <a16:creationId xmlns:a16="http://schemas.microsoft.com/office/drawing/2014/main" id="{3D68D267-DAD3-BC13-8199-A6BEC28D94F8}"/>
              </a:ext>
            </a:extLst>
          </p:cNvPr>
          <p:cNvSpPr txBox="1"/>
          <p:nvPr/>
        </p:nvSpPr>
        <p:spPr>
          <a:xfrm>
            <a:off x="836366" y="1714802"/>
            <a:ext cx="9826897" cy="42008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/>
            <a:r>
              <a:rPr lang="fr-FR" sz="1600" b="1" u="sng"/>
              <a:t>Contexte:</a:t>
            </a:r>
            <a:r>
              <a:rPr lang="fr-FR" sz="1600" dirty="0"/>
              <a:t> </a:t>
            </a:r>
            <a:br>
              <a:rPr lang="fr-FR" sz="1600" dirty="0"/>
            </a:br>
            <a:r>
              <a:rPr lang="fr-FR" sz="1600"/>
              <a:t>Depuis l’adossement au DRM au 01 mars 2025, les ressources des allocataires sont préremplies lors </a:t>
            </a:r>
            <a:r>
              <a:rPr lang="fr-FR" sz="1600" dirty="0"/>
              <a:t>de la déclaration trimestrielle de ressources pour le RSA et la PPA.</a:t>
            </a:r>
            <a:endParaRPr lang="en-US" sz="1600" dirty="0"/>
          </a:p>
          <a:p>
            <a:pPr algn="just"/>
            <a:r>
              <a:rPr lang="fr-FR" sz="1600"/>
              <a:t>Pour les demandes DRSA/DPPA, les ressources ne sont pas préaffichées, elles restent déclaratives.</a:t>
            </a:r>
          </a:p>
          <a:p>
            <a:pPr algn="just"/>
            <a:endParaRPr lang="fr-FR" sz="1600" b="1" u="sng" dirty="0"/>
          </a:p>
          <a:p>
            <a:pPr algn="just"/>
            <a:r>
              <a:rPr lang="fr-FR" sz="1600" b="1" u="sng"/>
              <a:t>Évolution:</a:t>
            </a:r>
            <a:endParaRPr lang="fr-FR" sz="1600" dirty="0"/>
          </a:p>
          <a:p>
            <a:pPr algn="just"/>
            <a:br>
              <a:rPr lang="fr-FR" sz="1600" dirty="0"/>
            </a:br>
            <a:r>
              <a:rPr lang="fr-FR" sz="1600"/>
              <a:t>A compter du 4 juillet 2026, le demandeur de RSA et Prime d’Activité déjà allocataire bénéficiera du </a:t>
            </a:r>
            <a:r>
              <a:rPr lang="fr-FR" sz="1600" dirty="0"/>
              <a:t>pré affichage des ressources issues du DRM avec les mêmes règles que pour la DTR.</a:t>
            </a:r>
            <a:endParaRPr lang="fr-FR" sz="1600">
              <a:ea typeface="Roboto"/>
              <a:cs typeface="Roboto"/>
            </a:endParaRPr>
          </a:p>
          <a:p>
            <a:pPr algn="just"/>
            <a:endParaRPr lang="fr-FR" sz="1600" dirty="0"/>
          </a:p>
          <a:p>
            <a:pPr algn="just"/>
            <a:r>
              <a:rPr lang="fr-FR" sz="1600" i="1"/>
              <a:t>A savoir, il n’y a toujours  pas d’affichage :</a:t>
            </a:r>
            <a:endParaRPr lang="fr-FR" sz="1600" i="1">
              <a:ea typeface="Roboto"/>
              <a:cs typeface="Roboto"/>
            </a:endParaRPr>
          </a:p>
          <a:p>
            <a:pPr algn="just"/>
            <a:r>
              <a:rPr lang="fr-FR" sz="1600" i="1"/>
              <a:t>Si situations professionnelles spécifiques (GSA, MOA, salarié AA)</a:t>
            </a:r>
            <a:endParaRPr lang="fr-FR" sz="1600" i="1">
              <a:ea typeface="Roboto"/>
              <a:cs typeface="Roboto"/>
            </a:endParaRPr>
          </a:p>
          <a:p>
            <a:pPr algn="just"/>
            <a:r>
              <a:rPr lang="fr-FR" sz="1600" i="1"/>
              <a:t>Si conjoint et/ou enfants non connus au dossier NIMS</a:t>
            </a:r>
            <a:endParaRPr lang="fr-FR" sz="1600" i="1">
              <a:ea typeface="Roboto"/>
              <a:cs typeface="Roboto"/>
            </a:endParaRPr>
          </a:p>
          <a:p>
            <a:pPr algn="just"/>
            <a:r>
              <a:rPr lang="fr-FR" sz="1600" i="1"/>
              <a:t>Si NIR non certifié</a:t>
            </a:r>
            <a:endParaRPr lang="fr-FR" sz="1600" i="1">
              <a:ea typeface="Roboto"/>
              <a:cs typeface="Roboto"/>
            </a:endParaRPr>
          </a:p>
          <a:p>
            <a:pPr algn="just"/>
            <a:endParaRPr lang="fr-FR" sz="1600" i="1" dirty="0"/>
          </a:p>
          <a:p>
            <a:pPr algn="just"/>
            <a:endParaRPr lang="fr-FR" sz="1600" dirty="0"/>
          </a:p>
          <a:p>
            <a:pPr algn="just">
              <a:lnSpc>
                <a:spcPts val="2239"/>
              </a:lnSpc>
            </a:pPr>
            <a:endParaRPr lang="fr-FR" sz="1550" noProof="0" dirty="0"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1026" name="Picture 2" descr="Click Icon Vectores, Iconos, Gráficos y Fondos para Descargar Gratis">
            <a:extLst>
              <a:ext uri="{FF2B5EF4-FFF2-40B4-BE49-F238E27FC236}">
                <a16:creationId xmlns:a16="http://schemas.microsoft.com/office/drawing/2014/main" id="{FCC25129-A5E8-F27F-CB02-8F3C1F7E6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2076" y="2141061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1550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4EB57-AA31-9019-4EB8-DAE0EB85D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700">
                <a:latin typeface="Roboto Black"/>
                <a:ea typeface="Roboto Black"/>
                <a:cs typeface="Roboto Black"/>
              </a:rPr>
              <a:t>Pré-remplissage des ressources pour les demandes RSA /PPA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2AAEC4-6DBF-774B-9790-9332C78D04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00" y="1949265"/>
            <a:ext cx="10635257" cy="80010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sz="1600" dirty="0">
                <a:solidFill>
                  <a:srgbClr val="09204E"/>
                </a:solidFill>
                <a:latin typeface="Roboto"/>
                <a:ea typeface="Roboto"/>
                <a:cs typeface="Roboto"/>
              </a:rPr>
              <a:t>Avant d’accéder aux ressources </a:t>
            </a:r>
            <a:r>
              <a:rPr lang="fr-FR" sz="1600" dirty="0" err="1">
                <a:solidFill>
                  <a:srgbClr val="09204E"/>
                </a:solidFill>
                <a:latin typeface="Roboto"/>
                <a:ea typeface="Roboto"/>
                <a:cs typeface="Roboto"/>
              </a:rPr>
              <a:t>pré-remplies</a:t>
            </a:r>
            <a:r>
              <a:rPr lang="fr-FR" sz="1600" dirty="0">
                <a:solidFill>
                  <a:srgbClr val="09204E"/>
                </a:solidFill>
                <a:latin typeface="Roboto"/>
                <a:ea typeface="Roboto"/>
                <a:cs typeface="Roboto"/>
              </a:rPr>
              <a:t>, nous vérifions si l’usager et son foyer sont éligibles au DRM</a:t>
            </a:r>
            <a:endParaRPr lang="en-US" dirty="0">
              <a:latin typeface="Roboto"/>
              <a:ea typeface="Roboto"/>
              <a:cs typeface="Roboto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B6BF30-AA49-C8EE-51A3-33BBEDAC1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787BFD-843A-4602-B314-707DEED37BF7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87C901-E88C-3573-393D-C26A042C0CE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803200" y="6356350"/>
            <a:ext cx="5400000" cy="365125"/>
          </a:xfrm>
        </p:spPr>
        <p:txBody>
          <a:bodyPr/>
          <a:lstStyle/>
          <a:p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</a:t>
            </a:r>
            <a:r>
              <a:rPr lang="fr-FR" cap="none"/>
              <a:t> </a:t>
            </a:r>
            <a:r>
              <a:rPr lang="fr-FR" cap="none">
                <a:latin typeface="Dreaming Outloud Script Pro" panose="03050502040304050704" pitchFamily="66" charset="0"/>
                <a:cs typeface="Dreaming Outloud Script Pro" panose="03050502040304050704" pitchFamily="66" charset="0"/>
              </a:rPr>
              <a:t>mensuelle</a:t>
            </a:r>
            <a:r>
              <a:rPr lang="fr-FR" cap="none"/>
              <a:t> </a:t>
            </a:r>
            <a:r>
              <a:rPr lang="fr-FR" cap="none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artenaires _ mai 2025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BAB41C-C76D-4F22-850A-053F95FF02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-77" b="209"/>
          <a:stretch>
            <a:fillRect/>
          </a:stretch>
        </p:blipFill>
        <p:spPr>
          <a:xfrm>
            <a:off x="1400175" y="2481717"/>
            <a:ext cx="9398918" cy="346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7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rsem">
  <a:themeElements>
    <a:clrScheme name="Personnalisé 2">
      <a:dk1>
        <a:srgbClr val="09204E"/>
      </a:dk1>
      <a:lt1>
        <a:srgbClr val="F3F4FA"/>
      </a:lt1>
      <a:dk2>
        <a:srgbClr val="013593"/>
      </a:dk2>
      <a:lt2>
        <a:srgbClr val="FFFFFF"/>
      </a:lt2>
      <a:accent1>
        <a:srgbClr val="E94F1C"/>
      </a:accent1>
      <a:accent2>
        <a:srgbClr val="2E808D"/>
      </a:accent2>
      <a:accent3>
        <a:srgbClr val="0093C4"/>
      </a:accent3>
      <a:accent4>
        <a:srgbClr val="DBE3F4"/>
      </a:accent4>
      <a:accent5>
        <a:srgbClr val="D13956"/>
      </a:accent5>
      <a:accent6>
        <a:srgbClr val="249E7D"/>
      </a:accent6>
      <a:hlink>
        <a:srgbClr val="AB6EB4"/>
      </a:hlink>
      <a:folHlink>
        <a:srgbClr val="E45687"/>
      </a:folHlink>
    </a:clrScheme>
    <a:fontScheme name="Personnalisé 1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rsem" id="{899A2DBD-3796-4041-8608-2700FCB63263}" vid="{8C0BE0A8-450F-48D4-AC12-628AC5A9DA49}"/>
    </a:ext>
  </a:extLst>
</a:theme>
</file>

<file path=ppt/theme/theme2.xml><?xml version="1.0" encoding="utf-8"?>
<a:theme xmlns:a="http://schemas.openxmlformats.org/drawingml/2006/main" name="Modèle 2 Darsem">
  <a:themeElements>
    <a:clrScheme name="Personnalisé 2">
      <a:dk1>
        <a:srgbClr val="09204E"/>
      </a:dk1>
      <a:lt1>
        <a:srgbClr val="F3F4FA"/>
      </a:lt1>
      <a:dk2>
        <a:srgbClr val="013593"/>
      </a:dk2>
      <a:lt2>
        <a:srgbClr val="FFFFFF"/>
      </a:lt2>
      <a:accent1>
        <a:srgbClr val="E94F1C"/>
      </a:accent1>
      <a:accent2>
        <a:srgbClr val="2E808D"/>
      </a:accent2>
      <a:accent3>
        <a:srgbClr val="0093C4"/>
      </a:accent3>
      <a:accent4>
        <a:srgbClr val="DBE3F4"/>
      </a:accent4>
      <a:accent5>
        <a:srgbClr val="D13956"/>
      </a:accent5>
      <a:accent6>
        <a:srgbClr val="249E7D"/>
      </a:accent6>
      <a:hlink>
        <a:srgbClr val="AB6EB4"/>
      </a:hlink>
      <a:folHlink>
        <a:srgbClr val="E45687"/>
      </a:folHlink>
    </a:clrScheme>
    <a:fontScheme name="Personnalisé 1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ca96c9-b490-4f46-8081-8889349388cd">
      <Terms xmlns="http://schemas.microsoft.com/office/infopath/2007/PartnerControls"/>
    </lcf76f155ced4ddcb4097134ff3c332f>
    <TaxCatchAll xmlns="e95738ad-2222-4755-8a0a-6610a083bcd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5212A66BA4D74FBA5D6167782B4920" ma:contentTypeVersion="11" ma:contentTypeDescription="Crée un document." ma:contentTypeScope="" ma:versionID="ebab765c595713c7ef28984f59630bcc">
  <xsd:schema xmlns:xsd="http://www.w3.org/2001/XMLSchema" xmlns:xs="http://www.w3.org/2001/XMLSchema" xmlns:p="http://schemas.microsoft.com/office/2006/metadata/properties" xmlns:ns2="18ca96c9-b490-4f46-8081-8889349388cd" xmlns:ns3="e95738ad-2222-4755-8a0a-6610a083bcdd" targetNamespace="http://schemas.microsoft.com/office/2006/metadata/properties" ma:root="true" ma:fieldsID="e7e560f9938499ebfbfe194593399df8" ns2:_="" ns3:_="">
    <xsd:import namespace="18ca96c9-b490-4f46-8081-8889349388cd"/>
    <xsd:import namespace="e95738ad-2222-4755-8a0a-6610a083bc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ca96c9-b490-4f46-8081-8889349388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6d3a89c3-dfa8-4892-b639-3079eaac7c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738ad-2222-4755-8a0a-6610a083bcd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b8b267c-640e-4dc5-9713-6fff81b46277}" ma:internalName="TaxCatchAll" ma:showField="CatchAllData" ma:web="e95738ad-2222-4755-8a0a-6610a083bc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811D3-BAD1-490A-8E8A-5D079D1404E9}">
  <ds:schemaRefs>
    <ds:schemaRef ds:uri="51f0771b-1682-4394-a861-039e4c974286"/>
    <ds:schemaRef ds:uri="c581e398-efd7-4956-a46f-bd435fb6d46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31bf6d91-870e-4a57-b10f-6ffc7a56682a"/>
    <ds:schemaRef ds:uri="1f78e6b1-f6b2-4d78-bf1d-38eae0b393c1"/>
  </ds:schemaRefs>
</ds:datastoreItem>
</file>

<file path=customXml/itemProps2.xml><?xml version="1.0" encoding="utf-8"?>
<ds:datastoreItem xmlns:ds="http://schemas.openxmlformats.org/officeDocument/2006/customXml" ds:itemID="{BC3600B1-F119-46C6-AFD3-F31DEB7A0550}"/>
</file>

<file path=customXml/itemProps3.xml><?xml version="1.0" encoding="utf-8"?>
<ds:datastoreItem xmlns:ds="http://schemas.openxmlformats.org/officeDocument/2006/customXml" ds:itemID="{279AB5D5-5CBE-4E74-9EA3-9EAE30F70F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sem</Template>
  <TotalTime>98</TotalTime>
  <Words>1301</Words>
  <Application>Microsoft Office PowerPoint</Application>
  <PresentationFormat>Grand écran</PresentationFormat>
  <Paragraphs>121</Paragraphs>
  <Slides>21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6" baseType="lpstr">
      <vt:lpstr>Aptos</vt:lpstr>
      <vt:lpstr>Arial</vt:lpstr>
      <vt:lpstr>Arial Nova Light</vt:lpstr>
      <vt:lpstr>Calibri</vt:lpstr>
      <vt:lpstr>Dreaming Outloud Script Pro</vt:lpstr>
      <vt:lpstr>Elephant</vt:lpstr>
      <vt:lpstr>Roboto</vt:lpstr>
      <vt:lpstr>Roboto Black</vt:lpstr>
      <vt:lpstr>Roboto Bold</vt:lpstr>
      <vt:lpstr>Roboto Light</vt:lpstr>
      <vt:lpstr>Roboto Medium</vt:lpstr>
      <vt:lpstr>Wingdings</vt:lpstr>
      <vt:lpstr>Darsem</vt:lpstr>
      <vt:lpstr>Modèle 2 Darsem</vt:lpstr>
      <vt:lpstr>Diapositive think-cell</vt:lpstr>
      <vt:lpstr>La Visio mensuelle des Partenaires / Flash info</vt:lpstr>
      <vt:lpstr>En bref ce mois-ci …</vt:lpstr>
      <vt:lpstr>Campagne Loyers 2026</vt:lpstr>
      <vt:lpstr>Campagne Loyers 2026 </vt:lpstr>
      <vt:lpstr>Campagne Allocation de rentrée scolaire 2026</vt:lpstr>
      <vt:lpstr>Campagne ARS 2026 (Allocation de rentrée scolaire)</vt:lpstr>
      <vt:lpstr>Evolutions demandes RSA /PPA</vt:lpstr>
      <vt:lpstr>Pré-remplissage des ressources pour les demandes RSA /PPA</vt:lpstr>
      <vt:lpstr>Pré-remplissage des ressources pour les demandes RSA /PPA</vt:lpstr>
      <vt:lpstr> Incitation à la demande d’allocation de soutien familial en fin de téléprocédure   de demande Rsa</vt:lpstr>
      <vt:lpstr>Présentation PowerPoint</vt:lpstr>
      <vt:lpstr>ARIPA(*) – Mise en place d’un SVI visuel : un parcours unique avec un motif dédié à la pension alimentaire</vt:lpstr>
      <vt:lpstr>Présentation PowerPoint</vt:lpstr>
      <vt:lpstr>Webinaire intermédiation financière</vt:lpstr>
      <vt:lpstr>Présentation PowerPoint</vt:lpstr>
      <vt:lpstr>L'enquête aux familles / jeunes</vt:lpstr>
      <vt:lpstr>📢 Enquête "Parents et jeunes : donnez votre avis !"</vt:lpstr>
      <vt:lpstr>Le maintien de nos permanences cet été sur l'ensemble  du Département</vt:lpstr>
      <vt:lpstr>Maintien des permanences CAF durant l'été ⭐</vt:lpstr>
      <vt:lpstr>Place à vos questions ...</vt:lpstr>
      <vt:lpstr>Merci 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ion WAERNESSYCKLE 755</dc:creator>
  <cp:lastModifiedBy>Estelle BEDNIK 861</cp:lastModifiedBy>
  <cp:revision>370</cp:revision>
  <dcterms:created xsi:type="dcterms:W3CDTF">2024-12-24T12:43:09Z</dcterms:created>
  <dcterms:modified xsi:type="dcterms:W3CDTF">2026-06-29T07:4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5212A66BA4D74FBA5D6167782B4920</vt:lpwstr>
  </property>
  <property fmtid="{D5CDD505-2E9C-101B-9397-08002B2CF9AE}" pid="3" name="MediaServiceImageTags">
    <vt:lpwstr/>
  </property>
</Properties>
</file>